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2" r:id="rId1"/>
    <p:sldMasterId id="2147483792" r:id="rId2"/>
    <p:sldMasterId id="2147483804" r:id="rId3"/>
    <p:sldMasterId id="2147483875" r:id="rId4"/>
    <p:sldMasterId id="2147483887" r:id="rId5"/>
  </p:sldMasterIdLst>
  <p:notesMasterIdLst>
    <p:notesMasterId r:id="rId20"/>
  </p:notesMasterIdLst>
  <p:sldIdLst>
    <p:sldId id="290" r:id="rId6"/>
    <p:sldId id="297" r:id="rId7"/>
    <p:sldId id="288" r:id="rId8"/>
    <p:sldId id="298" r:id="rId9"/>
    <p:sldId id="299" r:id="rId10"/>
    <p:sldId id="300" r:id="rId11"/>
    <p:sldId id="301" r:id="rId12"/>
    <p:sldId id="304" r:id="rId13"/>
    <p:sldId id="291" r:id="rId14"/>
    <p:sldId id="296" r:id="rId15"/>
    <p:sldId id="294" r:id="rId16"/>
    <p:sldId id="315" r:id="rId17"/>
    <p:sldId id="312" r:id="rId18"/>
    <p:sldId id="303" r:id="rId19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84">
          <p15:clr>
            <a:srgbClr val="A4A3A4"/>
          </p15:clr>
        </p15:guide>
        <p15:guide id="2" pos="28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A655A"/>
    <a:srgbClr val="884106"/>
    <a:srgbClr val="B05408"/>
    <a:srgbClr val="C05B08"/>
    <a:srgbClr val="E2E2E2"/>
    <a:srgbClr val="786651"/>
    <a:srgbClr val="8FB1C0"/>
    <a:srgbClr val="73B5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9" d="100"/>
          <a:sy n="69" d="100"/>
        </p:scale>
        <p:origin x="684" y="78"/>
      </p:cViewPr>
      <p:guideLst>
        <p:guide orient="horz" pos="1984"/>
        <p:guide pos="28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96F81DF-7A6E-4681-A13A-A94DB6DE3A44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4F898F36-3B73-4B49-B960-BCF4A0B3AAF5}" type="slidenum">
              <a:rPr lang="en-US" altLang="es-US"/>
              <a:pPr/>
              <a:t>‹Nº›</a:t>
            </a:fld>
            <a:endParaRPr lang="en-US" altLang="es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R" altLang="es-US" smtClean="0"/>
          </a:p>
        </p:txBody>
      </p:sp>
      <p:sp>
        <p:nvSpPr>
          <p:cNvPr id="6963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1DD7147B-17D1-49D7-878F-E50E812B1F46}" type="slidenum">
              <a:rPr lang="en-US" altLang="es-US" sz="1200">
                <a:solidFill>
                  <a:srgbClr val="000000"/>
                </a:solidFill>
              </a:rPr>
              <a:pPr eaLnBrk="1" hangingPunct="1"/>
              <a:t>1</a:t>
            </a:fld>
            <a:endParaRPr lang="en-US" altLang="es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R" altLang="es-US" smtClean="0"/>
          </a:p>
        </p:txBody>
      </p:sp>
      <p:sp>
        <p:nvSpPr>
          <p:cNvPr id="7066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FCC089B5-B419-4061-853E-D97753030DEC}" type="slidenum">
              <a:rPr lang="en-US" altLang="es-US" sz="1200"/>
              <a:pPr eaLnBrk="1" hangingPunct="1"/>
              <a:t>2</a:t>
            </a:fld>
            <a:endParaRPr lang="en-US" altLang="es-US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R" altLang="es-US" smtClean="0"/>
          </a:p>
        </p:txBody>
      </p:sp>
      <p:sp>
        <p:nvSpPr>
          <p:cNvPr id="7168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673C8C1F-976D-4B13-81E2-A5E3578B89D2}" type="slidenum">
              <a:rPr lang="en-US" altLang="es-US" sz="1200">
                <a:solidFill>
                  <a:srgbClr val="000000"/>
                </a:solidFill>
              </a:rPr>
              <a:pPr eaLnBrk="1" hangingPunct="1"/>
              <a:t>5</a:t>
            </a:fld>
            <a:endParaRPr lang="en-US" altLang="es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R" altLang="es-US" smtClean="0"/>
          </a:p>
        </p:txBody>
      </p:sp>
      <p:sp>
        <p:nvSpPr>
          <p:cNvPr id="7270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75BC8C45-B2A4-44EC-8BFE-B6AA1F7FCA13}" type="slidenum">
              <a:rPr lang="en-US" altLang="es-US" sz="1200">
                <a:solidFill>
                  <a:srgbClr val="000000"/>
                </a:solidFill>
              </a:rPr>
              <a:pPr eaLnBrk="1" hangingPunct="1"/>
              <a:t>6</a:t>
            </a:fld>
            <a:endParaRPr lang="en-US" altLang="es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1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R" altLang="es-US" smtClean="0"/>
          </a:p>
        </p:txBody>
      </p:sp>
      <p:sp>
        <p:nvSpPr>
          <p:cNvPr id="7373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5B7C2098-CC55-485D-8C87-5F6442CBD025}" type="slidenum">
              <a:rPr lang="en-US" altLang="es-US" sz="1200">
                <a:solidFill>
                  <a:srgbClr val="000000"/>
                </a:solidFill>
              </a:rPr>
              <a:pPr eaLnBrk="1" hangingPunct="1"/>
              <a:t>8</a:t>
            </a:fld>
            <a:endParaRPr lang="en-US" altLang="es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R" altLang="es-US" smtClean="0"/>
          </a:p>
        </p:txBody>
      </p:sp>
      <p:sp>
        <p:nvSpPr>
          <p:cNvPr id="7475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2015C6A5-CD86-46F6-9389-8F90A37EB9F1}" type="slidenum">
              <a:rPr lang="en-US" altLang="es-US" sz="1200">
                <a:solidFill>
                  <a:srgbClr val="000000"/>
                </a:solidFill>
              </a:rPr>
              <a:pPr eaLnBrk="1" hangingPunct="1"/>
              <a:t>14</a:t>
            </a:fld>
            <a:endParaRPr lang="en-US" altLang="es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4.png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2.png"/><Relationship Id="rId5" Type="http://schemas.openxmlformats.org/officeDocument/2006/relationships/tags" Target="../tags/tag22.xml"/><Relationship Id="rId10" Type="http://schemas.openxmlformats.org/officeDocument/2006/relationships/image" Target="../media/image1.emf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23DBD9-DE41-4286-B0E3-0563875FDDDE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BE3EA53-7373-4AF6-8333-00BFC1972E2E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358407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79E6CF-1027-4438-86DD-3A002BDB9739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E22A059-0DCB-4FB0-B3B0-07EAAC97F9B3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627868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7B473-EB89-43C3-AD1D-A97931A7644C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2A46996-34C5-4A23-839A-A8744E62A4D8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443329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1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 useBgFill="1">
        <p:nvSpPr>
          <p:cNvPr id="5" name="12 Rectángulo redondeado"/>
          <p:cNvSpPr/>
          <p:nvPr/>
        </p:nvSpPr>
        <p:spPr>
          <a:xfrm>
            <a:off x="65088" y="69850"/>
            <a:ext cx="9013825" cy="6691313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6 Rectángulo"/>
          <p:cNvSpPr/>
          <p:nvPr/>
        </p:nvSpPr>
        <p:spPr>
          <a:xfrm>
            <a:off x="63500" y="1449388"/>
            <a:ext cx="9020175" cy="15271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9 Rectángulo"/>
          <p:cNvSpPr/>
          <p:nvPr/>
        </p:nvSpPr>
        <p:spPr>
          <a:xfrm>
            <a:off x="63500" y="1397000"/>
            <a:ext cx="9020175" cy="12065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10 Rectángulo"/>
          <p:cNvSpPr/>
          <p:nvPr/>
        </p:nvSpPr>
        <p:spPr>
          <a:xfrm>
            <a:off x="63500" y="2976563"/>
            <a:ext cx="9020175" cy="111125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295400" y="3200400"/>
            <a:ext cx="64008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457200" y="1505930"/>
            <a:ext cx="82296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11" name="27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12" name="16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2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35C9D35B-8340-4E4B-BA1B-757B1668BEAD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14859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18C9AF3D-F2A9-4770-9C3D-AC28DE08DC14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6030395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0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5" name="9 Rectángulo redondeado"/>
          <p:cNvGrpSpPr>
            <a:grpSpLocks/>
          </p:cNvGrpSpPr>
          <p:nvPr/>
        </p:nvGrpSpPr>
        <p:grpSpPr bwMode="auto">
          <a:xfrm>
            <a:off x="66675" y="66675"/>
            <a:ext cx="9017000" cy="6699250"/>
            <a:chOff x="42" y="42"/>
            <a:chExt cx="5680" cy="4220"/>
          </a:xfrm>
        </p:grpSpPr>
        <p:pic>
          <p:nvPicPr>
            <p:cNvPr id="6" name="9 Rectángulo redondeado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" y="42"/>
              <a:ext cx="5680" cy="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 Box 4"/>
            <p:cNvSpPr txBox="1">
              <a:spLocks noChangeArrowheads="1"/>
            </p:cNvSpPr>
            <p:nvPr/>
          </p:nvSpPr>
          <p:spPr bwMode="auto">
            <a:xfrm>
              <a:off x="102" y="105"/>
              <a:ext cx="5556" cy="40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914400" eaLnBrk="1" hangingPunct="1"/>
              <a:endParaRPr lang="es-US" altLang="es-US" sz="1800">
                <a:solidFill>
                  <a:srgbClr val="FFFFFF"/>
                </a:solidFill>
                <a:latin typeface="Perpetua" panose="02020502060401020303" pitchFamily="18" charset="0"/>
              </a:endParaRPr>
            </a:p>
          </p:txBody>
        </p:sp>
      </p:grpSp>
      <p:sp>
        <p:nvSpPr>
          <p:cNvPr id="8" name="6 Rectángulo"/>
          <p:cNvSpPr/>
          <p:nvPr/>
        </p:nvSpPr>
        <p:spPr>
          <a:xfrm flipV="1">
            <a:off x="69850" y="2376488"/>
            <a:ext cx="9013825" cy="920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7 Rectángulo"/>
          <p:cNvSpPr/>
          <p:nvPr/>
        </p:nvSpPr>
        <p:spPr>
          <a:xfrm>
            <a:off x="69850" y="2341563"/>
            <a:ext cx="9013825" cy="46037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8 Rectángulo"/>
          <p:cNvSpPr/>
          <p:nvPr/>
        </p:nvSpPr>
        <p:spPr>
          <a:xfrm>
            <a:off x="68263" y="2468563"/>
            <a:ext cx="9015412" cy="4603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952500"/>
            <a:ext cx="7772400" cy="1362075"/>
          </a:xfrm>
        </p:spPr>
        <p:txBody>
          <a:bodyPr/>
          <a:lstStyle>
            <a:lvl1pPr algn="l">
              <a:buNone/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547938"/>
            <a:ext cx="7772400" cy="133826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12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800100" y="6172200"/>
            <a:ext cx="4000500" cy="457200"/>
          </a:xfrm>
        </p:spPr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46050" y="6208713"/>
            <a:ext cx="457200" cy="457200"/>
          </a:xfrm>
        </p:spPr>
        <p:txBody>
          <a:bodyPr/>
          <a:lstStyle>
            <a:lvl1pPr algn="r" defTabSz="457200">
              <a:defRPr sz="1200"/>
            </a:lvl1pPr>
          </a:lstStyle>
          <a:p>
            <a:fld id="{83978B0D-21BE-423B-9949-E1E910B52D08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34041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3749040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4933950" y="1447800"/>
            <a:ext cx="3749040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D6ACBB6A-84E9-4CE2-A4D4-3488984232BD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42689217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9530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10 Marcador de contenido"/>
          <p:cNvSpPr>
            <a:spLocks noGrp="1"/>
          </p:cNvSpPr>
          <p:nvPr>
            <p:ph sz="half" idx="2"/>
          </p:nvPr>
        </p:nvSpPr>
        <p:spPr>
          <a:xfrm>
            <a:off x="914400" y="2247900"/>
            <a:ext cx="3733800" cy="38862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3" name="12 Marcador de contenido"/>
          <p:cNvSpPr>
            <a:spLocks noGrp="1"/>
          </p:cNvSpPr>
          <p:nvPr>
            <p:ph sz="half" idx="4"/>
          </p:nvPr>
        </p:nvSpPr>
        <p:spPr>
          <a:xfrm>
            <a:off x="4953000" y="2247900"/>
            <a:ext cx="3733800" cy="38862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8804D50E-A26D-4DB7-8001-9F8FCCE9DEF7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205340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3870C962-B780-4126-9A3F-BDBE8F2D7F99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9683067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838DE89C-6051-4E72-812E-8E7EF7B508A9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4030191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7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 useBgFill="1">
        <p:nvSpPr>
          <p:cNvPr id="6" name="8 Rectángulo redondeado"/>
          <p:cNvSpPr/>
          <p:nvPr/>
        </p:nvSpPr>
        <p:spPr>
          <a:xfrm>
            <a:off x="63500" y="69850"/>
            <a:ext cx="9013825" cy="6692900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/>
          <a:lstStyle>
            <a:lvl1pPr algn="l">
              <a:buNone/>
              <a:defRPr sz="40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914400" y="1600200"/>
            <a:ext cx="190500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1"/>
          </p:nvPr>
        </p:nvSpPr>
        <p:spPr>
          <a:xfrm>
            <a:off x="2971800" y="1600200"/>
            <a:ext cx="5715000" cy="44958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8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E63A21D4-ACE7-44FA-B5FE-30704FAFBB31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468197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1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6"/>
          <p:cNvSpPr/>
          <p:nvPr userDrawn="1">
            <p:custDataLst>
              <p:tags r:id="rId1"/>
            </p:custDataLst>
          </p:nvPr>
        </p:nvSpPr>
        <p:spPr>
          <a:xfrm rot="2091363" flipH="1">
            <a:off x="8840788" y="6015038"/>
            <a:ext cx="174625" cy="1905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6" name="Rectangle 17"/>
          <p:cNvSpPr/>
          <p:nvPr userDrawn="1">
            <p:custDataLst>
              <p:tags r:id="rId2"/>
            </p:custDataLst>
          </p:nvPr>
        </p:nvSpPr>
        <p:spPr>
          <a:xfrm rot="19508637">
            <a:off x="165100" y="6018213"/>
            <a:ext cx="174625" cy="192087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MS PGothic" pitchFamily="34" charset="-128"/>
            </a:endParaRPr>
          </a:p>
        </p:txBody>
      </p:sp>
      <p:grpSp>
        <p:nvGrpSpPr>
          <p:cNvPr id="7" name="Rectangle 18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65100" y="79375"/>
            <a:ext cx="8886825" cy="6540500"/>
            <a:chOff x="104" y="50"/>
            <a:chExt cx="5598" cy="4120"/>
          </a:xfrm>
        </p:grpSpPr>
        <p:pic>
          <p:nvPicPr>
            <p:cNvPr id="8" name="Rectangle 18"/>
            <p:cNvPicPr>
              <a:picLocks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" y="50"/>
              <a:ext cx="5598" cy="4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 Box 6"/>
            <p:cNvSpPr txBox="1">
              <a:spLocks noChangeArrowheads="1"/>
            </p:cNvSpPr>
            <p:nvPr/>
          </p:nvSpPr>
          <p:spPr bwMode="auto">
            <a:xfrm>
              <a:off x="177" y="122"/>
              <a:ext cx="5451" cy="3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endParaRPr lang="es-US" altLang="es-US" sz="180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0" name="Rectangle 19"/>
          <p:cNvSpPr/>
          <p:nvPr userDrawn="1">
            <p:custDataLst>
              <p:tags r:id="rId4"/>
            </p:custDataLst>
          </p:nvPr>
        </p:nvSpPr>
        <p:spPr>
          <a:xfrm>
            <a:off x="125413" y="6081713"/>
            <a:ext cx="8929687" cy="4206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11" name="Straight Connector 20"/>
          <p:cNvPicPr>
            <a:picLocks noChangeArrowheads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6284913"/>
            <a:ext cx="7954963" cy="3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2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164013" y="5935663"/>
            <a:ext cx="712787" cy="712787"/>
          </a:xfrm>
          <a:prstGeom prst="ellipse">
            <a:avLst/>
          </a:prstGeom>
          <a:solidFill>
            <a:srgbClr val="984807"/>
          </a:solidFill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3" name="Straight Connector 22"/>
          <p:cNvPicPr>
            <a:picLocks noChangeArrowheads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275" y="1316038"/>
            <a:ext cx="6102350" cy="3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Straight Connector 23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925" y="712788"/>
            <a:ext cx="6102350" cy="3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49287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38588E-B2F5-4E88-9980-2FE3921C4527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198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400"/>
            </a:lvl1pPr>
          </a:lstStyle>
          <a:p>
            <a:fld id="{64457C69-0D0F-4640-B0D5-B38DD57386ED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582900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0 Rectángulo"/>
          <p:cNvSpPr/>
          <p:nvPr/>
        </p:nvSpPr>
        <p:spPr>
          <a:xfrm flipV="1">
            <a:off x="68263" y="4683125"/>
            <a:ext cx="9007475" cy="920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11 Rectángulo"/>
          <p:cNvSpPr/>
          <p:nvPr/>
        </p:nvSpPr>
        <p:spPr>
          <a:xfrm>
            <a:off x="68263" y="4649788"/>
            <a:ext cx="9007475" cy="46037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12 Rectángulo"/>
          <p:cNvSpPr/>
          <p:nvPr/>
        </p:nvSpPr>
        <p:spPr>
          <a:xfrm>
            <a:off x="68263" y="4773613"/>
            <a:ext cx="9007475" cy="47625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00" y="4900550"/>
            <a:ext cx="73152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914400" y="5445825"/>
            <a:ext cx="73152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68308" y="66675"/>
            <a:ext cx="9001873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 dirty="0"/>
          </a:p>
        </p:txBody>
      </p:sp>
      <p:sp>
        <p:nvSpPr>
          <p:cNvPr id="8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9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886200" cy="457200"/>
          </a:xfrm>
        </p:spPr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46050" y="6208713"/>
            <a:ext cx="457200" cy="457200"/>
          </a:xfrm>
        </p:spPr>
        <p:txBody>
          <a:bodyPr/>
          <a:lstStyle>
            <a:lvl1pPr algn="r" defTabSz="457200">
              <a:defRPr sz="1200"/>
            </a:lvl1pPr>
          </a:lstStyle>
          <a:p>
            <a:fld id="{E5FBB7CF-C60B-4D3A-9CC2-E21BFE7A5FC8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2047659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3266642B-94D4-4924-972B-39F32908C42D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558224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1168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914400" y="274640"/>
            <a:ext cx="55626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DC303A28-A6AF-4F89-B346-DAAC4EC34D8A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9395373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AD336FB3-29E9-467C-AC26-CA49BDB7B779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95339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F02D1DCD-9EA1-473A-A4E8-6E3E051831B6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706370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A4B37652-B9C0-47A4-8FE3-6C83C08EE07F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6283573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F5A56572-970B-429E-8DBC-F0C2FCC9259E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5853434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35E7FFBA-2616-4985-B35F-C29D5D96A607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516558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DC3FBE3C-F010-4CB1-9B93-23B9255D5DB2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021576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3A260BEE-DDC5-4730-85ED-61DF66D9874A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92654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4964E-DD6A-4C78-997D-4559CED11B25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B332E82-A5B9-4E2D-927E-1799E239ECC0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0462215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3BADA765-25AB-425A-813F-EE18AD4A9DF3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7356125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A6DAB51C-5F4C-434C-978C-7077215E8A8A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4599932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CE5854BA-E3D4-464F-A94E-DB43BC9CC8DC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5818037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9877EED3-1CC0-441F-A90E-9B02919DA700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40489883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ítulo y 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762000" y="1600200"/>
            <a:ext cx="8004048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"/>
          </a:p>
        </p:txBody>
      </p:sp>
      <p:sp>
        <p:nvSpPr>
          <p:cNvPr id="4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rgbClr val="EBDDC3"/>
                </a:solidFill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fld id="{DA480A42-1B47-4A74-9A1D-F67E9D003F15}" type="datetimeFigureOut">
              <a:rPr lang=""/>
              <a:pPr>
                <a:defRPr/>
              </a:pPr>
              <a:t>02/21/2020</a:t>
            </a:fld>
            <a:endParaRPr lang=""/>
          </a:p>
        </p:txBody>
      </p:sp>
      <p:sp>
        <p:nvSpPr>
          <p:cNvPr id="5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rgbClr val="EBDDC3"/>
                </a:solidFill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"/>
          </a:p>
        </p:txBody>
      </p:sp>
      <p:sp>
        <p:nvSpPr>
          <p:cNvPr id="6" name="Slide Number Placehold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 defTabSz="457200">
              <a:defRPr sz="1400">
                <a:solidFill>
                  <a:srgbClr val="EBDDC3"/>
                </a:solidFill>
                <a:latin typeface="Arial" panose="020B0604020202020204" pitchFamily="34" charset="0"/>
              </a:defRPr>
            </a:lvl1pPr>
          </a:lstStyle>
          <a:p>
            <a:fld id="{3085DE81-EF52-4BF3-890D-B80EB3488C20}" type="slidenum">
              <a:rPr lang="" altLang="es-US"/>
              <a:pPr/>
              <a:t>‹Nº›</a:t>
            </a:fld>
            <a:endParaRPr lang="" altLang="es-US"/>
          </a:p>
        </p:txBody>
      </p:sp>
    </p:spTree>
    <p:extLst>
      <p:ext uri="{BB962C8B-B14F-4D97-AF65-F5344CB8AC3E}">
        <p14:creationId xmlns:p14="http://schemas.microsoft.com/office/powerpoint/2010/main" val="17635737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1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 useBgFill="1">
        <p:nvSpPr>
          <p:cNvPr id="5" name="12 Rectángulo redondeado"/>
          <p:cNvSpPr/>
          <p:nvPr/>
        </p:nvSpPr>
        <p:spPr>
          <a:xfrm>
            <a:off x="65088" y="69850"/>
            <a:ext cx="9013825" cy="6691313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6 Rectángulo"/>
          <p:cNvSpPr/>
          <p:nvPr/>
        </p:nvSpPr>
        <p:spPr>
          <a:xfrm>
            <a:off x="63500" y="1449388"/>
            <a:ext cx="9020175" cy="15271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9 Rectángulo"/>
          <p:cNvSpPr/>
          <p:nvPr/>
        </p:nvSpPr>
        <p:spPr>
          <a:xfrm>
            <a:off x="63500" y="1397000"/>
            <a:ext cx="9020175" cy="12065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10 Rectángulo"/>
          <p:cNvSpPr/>
          <p:nvPr/>
        </p:nvSpPr>
        <p:spPr>
          <a:xfrm>
            <a:off x="63500" y="2976563"/>
            <a:ext cx="9020175" cy="111125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1295400" y="3200400"/>
            <a:ext cx="64008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457200" y="1505930"/>
            <a:ext cx="82296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11" name="27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12" name="16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2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B54F5F4B-2379-40BA-AA0B-1583910490FF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591519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55C13978-4E93-444C-BEF1-B4110FE9DB68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773823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0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5" name="9 Rectángulo redondeado"/>
          <p:cNvGrpSpPr>
            <a:grpSpLocks/>
          </p:cNvGrpSpPr>
          <p:nvPr/>
        </p:nvGrpSpPr>
        <p:grpSpPr bwMode="auto">
          <a:xfrm>
            <a:off x="66675" y="66675"/>
            <a:ext cx="9017000" cy="6699250"/>
            <a:chOff x="42" y="42"/>
            <a:chExt cx="5680" cy="4220"/>
          </a:xfrm>
        </p:grpSpPr>
        <p:pic>
          <p:nvPicPr>
            <p:cNvPr id="6" name="9 Rectángulo redondeado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" y="42"/>
              <a:ext cx="5680" cy="4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 Box 4"/>
            <p:cNvSpPr txBox="1">
              <a:spLocks noChangeArrowheads="1"/>
            </p:cNvSpPr>
            <p:nvPr/>
          </p:nvSpPr>
          <p:spPr bwMode="auto">
            <a:xfrm>
              <a:off x="102" y="105"/>
              <a:ext cx="5556" cy="40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914400" eaLnBrk="1" hangingPunct="1"/>
              <a:endParaRPr lang="es-US" altLang="es-US" sz="1800">
                <a:solidFill>
                  <a:srgbClr val="FFFFFF"/>
                </a:solidFill>
                <a:latin typeface="Perpetua" panose="02020502060401020303" pitchFamily="18" charset="0"/>
              </a:endParaRPr>
            </a:p>
          </p:txBody>
        </p:sp>
      </p:grpSp>
      <p:sp>
        <p:nvSpPr>
          <p:cNvPr id="8" name="6 Rectángulo"/>
          <p:cNvSpPr/>
          <p:nvPr/>
        </p:nvSpPr>
        <p:spPr>
          <a:xfrm flipV="1">
            <a:off x="69850" y="2376488"/>
            <a:ext cx="9013825" cy="920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7 Rectángulo"/>
          <p:cNvSpPr/>
          <p:nvPr/>
        </p:nvSpPr>
        <p:spPr>
          <a:xfrm>
            <a:off x="69850" y="2341563"/>
            <a:ext cx="9013825" cy="46037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8 Rectángulo"/>
          <p:cNvSpPr/>
          <p:nvPr/>
        </p:nvSpPr>
        <p:spPr>
          <a:xfrm>
            <a:off x="68263" y="2468563"/>
            <a:ext cx="9015412" cy="4603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952500"/>
            <a:ext cx="7772400" cy="1362075"/>
          </a:xfrm>
        </p:spPr>
        <p:txBody>
          <a:bodyPr/>
          <a:lstStyle>
            <a:lvl1pPr algn="l">
              <a:buNone/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547938"/>
            <a:ext cx="7772400" cy="133826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12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800100" y="6172200"/>
            <a:ext cx="4000500" cy="457200"/>
          </a:xfrm>
        </p:spPr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46050" y="6208713"/>
            <a:ext cx="457200" cy="457200"/>
          </a:xfrm>
        </p:spPr>
        <p:txBody>
          <a:bodyPr/>
          <a:lstStyle>
            <a:lvl1pPr algn="r" defTabSz="457200">
              <a:defRPr sz="1200"/>
            </a:lvl1pPr>
          </a:lstStyle>
          <a:p>
            <a:fld id="{2DFA95EE-E17F-47C8-8500-1E0D96523DF7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458600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3749040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4933950" y="1447800"/>
            <a:ext cx="3749040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C20B7015-4C8B-4078-A9DC-A73DF007CF46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42052223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3"/>
          </p:nvPr>
        </p:nvSpPr>
        <p:spPr>
          <a:xfrm>
            <a:off x="49530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10 Marcador de contenido"/>
          <p:cNvSpPr>
            <a:spLocks noGrp="1"/>
          </p:cNvSpPr>
          <p:nvPr>
            <p:ph sz="half" idx="2"/>
          </p:nvPr>
        </p:nvSpPr>
        <p:spPr>
          <a:xfrm>
            <a:off x="914400" y="2247900"/>
            <a:ext cx="3733800" cy="38862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3" name="12 Marcador de contenido"/>
          <p:cNvSpPr>
            <a:spLocks noGrp="1"/>
          </p:cNvSpPr>
          <p:nvPr>
            <p:ph sz="half" idx="4"/>
          </p:nvPr>
        </p:nvSpPr>
        <p:spPr>
          <a:xfrm>
            <a:off x="4953000" y="2247900"/>
            <a:ext cx="3733800" cy="38862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4519C77A-E441-47B8-A8A4-DAAFF3EB35A8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849823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14DD44-25AD-4D56-BE6F-6485B6704A5F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F1D6290A-B28B-4976-B5ED-C146CEBCBC0A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3053430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396D2C1D-7E60-4E56-ADB0-76660A5CB3E4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5728133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9AA50778-9503-4131-A674-B628C73215F7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7555448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7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 useBgFill="1">
        <p:nvSpPr>
          <p:cNvPr id="6" name="8 Rectángulo redondeado"/>
          <p:cNvSpPr/>
          <p:nvPr/>
        </p:nvSpPr>
        <p:spPr>
          <a:xfrm>
            <a:off x="63500" y="69850"/>
            <a:ext cx="9013825" cy="6692900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/>
          <a:lstStyle>
            <a:lvl1pPr algn="l">
              <a:buNone/>
              <a:defRPr sz="40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914400" y="1600200"/>
            <a:ext cx="190500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1"/>
          </p:nvPr>
        </p:nvSpPr>
        <p:spPr>
          <a:xfrm>
            <a:off x="2971800" y="1600200"/>
            <a:ext cx="5715000" cy="44958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8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E554DA4B-376A-4C31-9E8C-0E0E199D306F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0192664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0 Rectángulo"/>
          <p:cNvSpPr/>
          <p:nvPr/>
        </p:nvSpPr>
        <p:spPr>
          <a:xfrm flipV="1">
            <a:off x="68263" y="4683125"/>
            <a:ext cx="9007475" cy="920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11 Rectángulo"/>
          <p:cNvSpPr/>
          <p:nvPr/>
        </p:nvSpPr>
        <p:spPr>
          <a:xfrm>
            <a:off x="68263" y="4649788"/>
            <a:ext cx="9007475" cy="46037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12 Rectángulo"/>
          <p:cNvSpPr/>
          <p:nvPr/>
        </p:nvSpPr>
        <p:spPr>
          <a:xfrm>
            <a:off x="68263" y="4773613"/>
            <a:ext cx="9007475" cy="47625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14400" y="4900550"/>
            <a:ext cx="73152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914400" y="5445825"/>
            <a:ext cx="73152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68308" y="66675"/>
            <a:ext cx="9001873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 dirty="0"/>
          </a:p>
        </p:txBody>
      </p:sp>
      <p:sp>
        <p:nvSpPr>
          <p:cNvPr id="8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9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886200" cy="457200"/>
          </a:xfrm>
        </p:spPr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46050" y="6208713"/>
            <a:ext cx="457200" cy="457200"/>
          </a:xfrm>
        </p:spPr>
        <p:txBody>
          <a:bodyPr/>
          <a:lstStyle>
            <a:lvl1pPr algn="r" defTabSz="457200">
              <a:defRPr sz="1200"/>
            </a:lvl1pPr>
          </a:lstStyle>
          <a:p>
            <a:fld id="{BD9F207A-29C4-4A95-AA18-D59D6B92F1A4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5487995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B8ED6B7C-61A3-439A-98DF-2280110CCC2D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3577760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1168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914400" y="274640"/>
            <a:ext cx="55626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defTabSz="457200" fontAlgn="base">
              <a:spcBef>
                <a:spcPct val="0"/>
              </a:spcBef>
              <a:spcAft>
                <a:spcPct val="0"/>
              </a:spcAft>
              <a:defRPr sz="1200"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457200">
              <a:defRPr sz="1200"/>
            </a:lvl1pPr>
          </a:lstStyle>
          <a:p>
            <a:fld id="{8CC4B1EA-E2D1-4043-B147-C7B214BAA3EC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9116640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866ED45F-88B4-40E8-9FEE-ECFD04E41C3D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9419537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3A3F4E4F-621B-4B1E-B429-6438A557286C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9406588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0F29035A-638A-4188-92A1-C1E9C58570E8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42189048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1A5462F8-91E9-45AC-B33D-7F3E083122BC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9518723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F7862B-DA77-46DA-B25F-1A52AC966768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503450B-E4F3-4B2E-98DD-1CD719B4BA0F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6789346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F19C0DB2-298A-4AA9-BBE8-46DDB6274501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9137489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19867EBF-21C6-4243-B7B1-D363C566FB77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6738370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94F12B17-586D-4DCB-B063-65B50C51BC72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4210080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9C4A5C90-481A-4C15-BF01-2BAE621AAE83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2476298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A936BD7F-58C6-4A4C-AB85-7BF3788142AA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5758095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8DCFA6E8-6637-4D31-A804-0336A52B41B0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5385813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>
                <a:latin typeface="Arial" panose="020B0604020202020204" pitchFamily="34" charset="0"/>
              </a:defRPr>
            </a:lvl1pPr>
          </a:lstStyle>
          <a:p>
            <a:fld id="{917279D2-8A74-48BF-8250-ABAD594DC99B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0606766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ítulo y 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762000" y="1600200"/>
            <a:ext cx="8004048" cy="4572000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"/>
          </a:p>
        </p:txBody>
      </p:sp>
      <p:sp>
        <p:nvSpPr>
          <p:cNvPr id="4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rgbClr val="EBDDC3"/>
                </a:solidFill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fld id="{DA480A42-1B47-4A74-9A1D-F67E9D003F15}" type="datetimeFigureOut">
              <a:rPr lang=""/>
              <a:pPr>
                <a:defRPr/>
              </a:pPr>
              <a:t>02/21/2020</a:t>
            </a:fld>
            <a:endParaRPr lang=""/>
          </a:p>
        </p:txBody>
      </p:sp>
      <p:sp>
        <p:nvSpPr>
          <p:cNvPr id="5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rgbClr val="EBDDC3"/>
                </a:solidFill>
                <a:latin typeface="Arial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"/>
          </a:p>
        </p:txBody>
      </p:sp>
      <p:sp>
        <p:nvSpPr>
          <p:cNvPr id="6" name="Slide Number Placehold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 defTabSz="457200">
              <a:defRPr sz="1400">
                <a:solidFill>
                  <a:srgbClr val="EBDDC3"/>
                </a:solidFill>
                <a:latin typeface="Arial" panose="020B0604020202020204" pitchFamily="34" charset="0"/>
              </a:defRPr>
            </a:lvl1pPr>
          </a:lstStyle>
          <a:p>
            <a:fld id="{4BC18E8A-51DA-40B6-86BA-D2B3299B90A7}" type="slidenum">
              <a:rPr lang="" altLang="es-US"/>
              <a:pPr/>
              <a:t>‹Nº›</a:t>
            </a:fld>
            <a:endParaRPr lang="" altLang="es-US"/>
          </a:p>
        </p:txBody>
      </p:sp>
    </p:spTree>
    <p:extLst>
      <p:ext uri="{BB962C8B-B14F-4D97-AF65-F5344CB8AC3E}">
        <p14:creationId xmlns:p14="http://schemas.microsoft.com/office/powerpoint/2010/main" val="3652835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A31C6A-2802-41F3-A146-C7049452BC31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ABCCE84-6E60-4EFB-B47D-DE5B4644F164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22496401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7651FB-5918-4E38-9A97-57A4831B0B6C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C861694D-6C18-4A0F-8686-5F31F2FB23A1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805012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03C4ED-39A7-4C7F-AEC2-CE07401F8D54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3A6E228A-9E5E-4FCC-A020-965F0920FEE9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3550955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96E329-8F75-42ED-874B-6A08E297F1B5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1E3FC731-EE0A-4EFF-A7C5-E75CA16619C3}" type="slidenum">
              <a:rPr lang="en-US" altLang="es-US"/>
              <a:pPr/>
              <a:t>‹Nº›</a:t>
            </a:fld>
            <a:endParaRPr lang="en-US" altLang="es-US"/>
          </a:p>
        </p:txBody>
      </p:sp>
    </p:spTree>
    <p:extLst>
      <p:ext uri="{BB962C8B-B14F-4D97-AF65-F5344CB8AC3E}">
        <p14:creationId xmlns:p14="http://schemas.microsoft.com/office/powerpoint/2010/main" val="14220834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Object 2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s-US" smtClean="0"/>
              <a:t>Click to edit Master title style</a:t>
            </a:r>
            <a:endParaRPr lang="en-US" altLang="es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s-US" smtClean="0"/>
              <a:t>Click to edit Master text styles</a:t>
            </a:r>
          </a:p>
          <a:p>
            <a:pPr lvl="1"/>
            <a:r>
              <a:rPr lang="da-DK" altLang="es-US" smtClean="0"/>
              <a:t>Second level</a:t>
            </a:r>
          </a:p>
          <a:p>
            <a:pPr lvl="2"/>
            <a:r>
              <a:rPr lang="da-DK" altLang="es-US" smtClean="0"/>
              <a:t>Third level</a:t>
            </a:r>
          </a:p>
          <a:p>
            <a:pPr lvl="3"/>
            <a:r>
              <a:rPr lang="da-DK" altLang="es-US" smtClean="0"/>
              <a:t>Fourth level</a:t>
            </a:r>
          </a:p>
          <a:p>
            <a:pPr lvl="4"/>
            <a:r>
              <a:rPr lang="da-DK" altLang="es-US" smtClean="0"/>
              <a:t>Fifth level</a:t>
            </a:r>
            <a:endParaRPr lang="en-US" altLang="es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8BF1742F-A904-47F0-8A64-F1C3CC42E1AE}" type="datetime1">
              <a:rPr lang="en-US"/>
              <a:pPr>
                <a:defRPr/>
              </a:pPr>
              <a:t>2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/>
          <p:nvPr userDrawn="1">
            <p:custDataLst>
              <p:tags r:id="rId17"/>
            </p:custDataLst>
          </p:nvPr>
        </p:nvSpPr>
        <p:spPr>
          <a:xfrm rot="2091363" flipH="1">
            <a:off x="8840788" y="6015038"/>
            <a:ext cx="174625" cy="1905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8" name="Rectangle 7"/>
          <p:cNvSpPr/>
          <p:nvPr userDrawn="1">
            <p:custDataLst>
              <p:tags r:id="rId18"/>
            </p:custDataLst>
          </p:nvPr>
        </p:nvSpPr>
        <p:spPr>
          <a:xfrm rot="19508637">
            <a:off x="165100" y="6018213"/>
            <a:ext cx="174625" cy="192087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MS PGothic" pitchFamily="34" charset="-128"/>
            </a:endParaRPr>
          </a:p>
        </p:txBody>
      </p:sp>
      <p:grpSp>
        <p:nvGrpSpPr>
          <p:cNvPr id="9" name="Rectangle 8"/>
          <p:cNvGrpSpPr>
            <a:grpSpLocks/>
          </p:cNvGrpSpPr>
          <p:nvPr userDrawn="1">
            <p:custDataLst>
              <p:tags r:id="rId19"/>
            </p:custDataLst>
          </p:nvPr>
        </p:nvGrpSpPr>
        <p:grpSpPr bwMode="auto">
          <a:xfrm>
            <a:off x="165100" y="79375"/>
            <a:ext cx="8886825" cy="6540500"/>
            <a:chOff x="104" y="50"/>
            <a:chExt cx="5598" cy="4120"/>
          </a:xfrm>
        </p:grpSpPr>
        <p:pic>
          <p:nvPicPr>
            <p:cNvPr id="1033" name="Rectangle 8"/>
            <p:cNvPicPr>
              <a:picLocks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" y="50"/>
              <a:ext cx="5598" cy="4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4" name="Text Box 10"/>
            <p:cNvSpPr txBox="1">
              <a:spLocks noChangeArrowheads="1"/>
            </p:cNvSpPr>
            <p:nvPr/>
          </p:nvSpPr>
          <p:spPr bwMode="auto">
            <a:xfrm>
              <a:off x="177" y="122"/>
              <a:ext cx="5451" cy="3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endParaRPr lang="es-US" altLang="es-US" sz="180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0" name="Rectangle 9"/>
          <p:cNvSpPr/>
          <p:nvPr userDrawn="1">
            <p:custDataLst>
              <p:tags r:id="rId20"/>
            </p:custDataLst>
          </p:nvPr>
        </p:nvSpPr>
        <p:spPr>
          <a:xfrm>
            <a:off x="125413" y="6081713"/>
            <a:ext cx="8929687" cy="4206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11" name="Straight Connector 10"/>
          <p:cNvPicPr>
            <a:picLocks noChangeArrowheads="1"/>
          </p:cNvPicPr>
          <p:nvPr userDrawn="1">
            <p:custDataLst>
              <p:tags r:id="rId21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6284913"/>
            <a:ext cx="7954963" cy="3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/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4164013" y="5935663"/>
            <a:ext cx="712787" cy="712787"/>
          </a:xfrm>
          <a:prstGeom prst="ellipse">
            <a:avLst/>
          </a:prstGeom>
          <a:solidFill>
            <a:srgbClr val="984807"/>
          </a:solidFill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3" name="Straight Connector 12"/>
          <p:cNvPicPr>
            <a:picLocks noChangeArrowheads="1"/>
          </p:cNvPicPr>
          <p:nvPr userDrawn="1">
            <p:custDataLst>
              <p:tags r:id="rId23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275" y="1316038"/>
            <a:ext cx="6102350" cy="3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Straight Connector 13"/>
          <p:cNvPicPr>
            <a:picLocks noChangeArrowheads="1"/>
          </p:cNvPicPr>
          <p:nvPr userDrawn="1">
            <p:custDataLst>
              <p:tags r:id="rId24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925" y="712788"/>
            <a:ext cx="6102350" cy="30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5"/>
            </p:custDataLst>
          </p:nvPr>
        </p:nvSpPr>
        <p:spPr>
          <a:xfrm>
            <a:off x="4164013" y="6088063"/>
            <a:ext cx="71278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8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29821C09-F16E-4C88-B299-315CC72E7CF0}" type="slidenum">
              <a:rPr lang="en-US" altLang="es-US"/>
              <a:pPr/>
              <a:t>‹Nº›</a:t>
            </a:fld>
            <a:endParaRPr lang="en-US" altLang="es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 useBgFill="1">
        <p:nvSpPr>
          <p:cNvPr id="8" name="7 Rectángulo redondeado"/>
          <p:cNvSpPr/>
          <p:nvPr/>
        </p:nvSpPr>
        <p:spPr>
          <a:xfrm>
            <a:off x="63500" y="69850"/>
            <a:ext cx="9013825" cy="6692900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052" name="21 Marcador de título"/>
          <p:cNvSpPr>
            <a:spLocks noGrp="1"/>
          </p:cNvSpPr>
          <p:nvPr>
            <p:ph type="title"/>
          </p:nvPr>
        </p:nvSpPr>
        <p:spPr bwMode="auto">
          <a:xfrm>
            <a:off x="914400" y="274638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9144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ítulo del patrón</a:t>
            </a:r>
            <a:endParaRPr lang="en-US" altLang="es-US" smtClean="0"/>
          </a:p>
        </p:txBody>
      </p:sp>
      <p:sp>
        <p:nvSpPr>
          <p:cNvPr id="2053" name="12 Marcador de texto"/>
          <p:cNvSpPr>
            <a:spLocks noGrp="1"/>
          </p:cNvSpPr>
          <p:nvPr>
            <p:ph type="body" idx="1"/>
          </p:nvPr>
        </p:nvSpPr>
        <p:spPr bwMode="auto">
          <a:xfrm>
            <a:off x="914400" y="1447800"/>
            <a:ext cx="77724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exto del patrón</a:t>
            </a:r>
          </a:p>
          <a:p>
            <a:pPr lvl="1"/>
            <a:r>
              <a:rPr lang="es-ES" altLang="es-US" smtClean="0"/>
              <a:t>Segundo nivel</a:t>
            </a:r>
          </a:p>
          <a:p>
            <a:pPr lvl="2"/>
            <a:r>
              <a:rPr lang="es-ES" altLang="es-US" smtClean="0"/>
              <a:t>Tercer nivel</a:t>
            </a:r>
          </a:p>
          <a:p>
            <a:pPr lvl="3"/>
            <a:r>
              <a:rPr lang="es-ES" altLang="es-US" smtClean="0"/>
              <a:t>Cuarto nivel</a:t>
            </a:r>
          </a:p>
          <a:p>
            <a:pPr lvl="4"/>
            <a:r>
              <a:rPr lang="es-ES" altLang="es-US" smtClean="0"/>
              <a:t>Quinto nivel</a:t>
            </a:r>
            <a:endParaRPr lang="en-US" altLang="es-US" smtClean="0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 anchor="ctr" anchorCtr="0"/>
          <a:lstStyle>
            <a:lvl1pPr algn="r" defTabSz="91440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 anchor="ctr" anchorCtr="0"/>
          <a:lstStyle>
            <a:lvl1pPr defTabSz="91440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46050" y="621030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ctr" defTabSz="914400">
              <a:defRPr sz="14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CD1F25C1-66B7-4554-B06E-CB3FB11A3B98}" type="slidenum">
              <a:rPr lang="en-US" altLang="es-US"/>
              <a:pPr/>
              <a:t>‹Nº›</a:t>
            </a:fld>
            <a:endParaRPr lang="en-US" altLang="es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9pPr>
    </p:titleStyle>
    <p:bodyStyle>
      <a:lvl1pPr marL="273050" indent="-273050" algn="l" rtl="0" eaLnBrk="0" fontAlgn="base" hangingPunct="0">
        <a:spcBef>
          <a:spcPts val="575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28600" algn="l" rtl="0" eaLnBrk="0" fontAlgn="base" hangingPunct="0">
        <a:spcBef>
          <a:spcPts val="375"/>
        </a:spcBef>
        <a:spcAft>
          <a:spcPct val="0"/>
        </a:spcAft>
        <a:buClr>
          <a:schemeClr val="accent2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ts val="375"/>
        </a:spcBef>
        <a:spcAft>
          <a:spcPct val="0"/>
        </a:spcAft>
        <a:buClr>
          <a:srgbClr val="E6B1AB"/>
        </a:buClr>
        <a:buSzPct val="8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ts val="375"/>
        </a:spcBef>
        <a:spcAft>
          <a:spcPct val="0"/>
        </a:spcAft>
        <a:buClr>
          <a:srgbClr val="A28E6A"/>
        </a:buClr>
        <a:buSzPct val="80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75"/>
        </a:spcBef>
        <a:spcAft>
          <a:spcPct val="0"/>
        </a:spcAft>
        <a:buClr>
          <a:srgbClr val="A28E6A"/>
        </a:buClr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ítulo del patrón</a:t>
            </a:r>
            <a:endParaRPr lang="en-US" altLang="es-US" smtClean="0"/>
          </a:p>
        </p:txBody>
      </p:sp>
      <p:sp>
        <p:nvSpPr>
          <p:cNvPr id="3075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exto del patrón</a:t>
            </a:r>
          </a:p>
          <a:p>
            <a:pPr lvl="1"/>
            <a:r>
              <a:rPr lang="es-ES" altLang="es-US" smtClean="0"/>
              <a:t>Segundo nivel</a:t>
            </a:r>
          </a:p>
          <a:p>
            <a:pPr lvl="2"/>
            <a:r>
              <a:rPr lang="es-ES" altLang="es-US" smtClean="0"/>
              <a:t>Tercer nivel</a:t>
            </a:r>
          </a:p>
          <a:p>
            <a:pPr lvl="3"/>
            <a:r>
              <a:rPr lang="es-ES" altLang="es-US" smtClean="0"/>
              <a:t>Cuarto nivel</a:t>
            </a:r>
          </a:p>
          <a:p>
            <a:pPr lvl="4"/>
            <a:r>
              <a:rPr lang="es-ES" altLang="es-US" smtClean="0"/>
              <a:t>Quinto nivel</a:t>
            </a:r>
            <a:endParaRPr lang="en-US" altLang="es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330333D2-B117-48EA-8AF4-DD31D64ECFD5}" type="slidenum">
              <a:rPr lang="en-US" altLang="es-US"/>
              <a:pPr/>
              <a:t>‹Nº›</a:t>
            </a:fld>
            <a:endParaRPr lang="en-US" altLang="es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  <p:sldLayoutId id="2147484292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 useBgFill="1">
        <p:nvSpPr>
          <p:cNvPr id="8" name="7 Rectángulo redondeado"/>
          <p:cNvSpPr/>
          <p:nvPr/>
        </p:nvSpPr>
        <p:spPr>
          <a:xfrm>
            <a:off x="63500" y="69850"/>
            <a:ext cx="9013825" cy="6692900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100" name="21 Marcador de título"/>
          <p:cNvSpPr>
            <a:spLocks noGrp="1"/>
          </p:cNvSpPr>
          <p:nvPr>
            <p:ph type="title"/>
          </p:nvPr>
        </p:nvSpPr>
        <p:spPr bwMode="auto">
          <a:xfrm>
            <a:off x="914400" y="274638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9144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ítulo del patrón</a:t>
            </a:r>
            <a:endParaRPr lang="en-US" altLang="es-US" smtClean="0"/>
          </a:p>
        </p:txBody>
      </p:sp>
      <p:sp>
        <p:nvSpPr>
          <p:cNvPr id="4101" name="12 Marcador de texto"/>
          <p:cNvSpPr>
            <a:spLocks noGrp="1"/>
          </p:cNvSpPr>
          <p:nvPr>
            <p:ph type="body" idx="1"/>
          </p:nvPr>
        </p:nvSpPr>
        <p:spPr bwMode="auto">
          <a:xfrm>
            <a:off x="914400" y="1447800"/>
            <a:ext cx="77724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exto del patrón</a:t>
            </a:r>
          </a:p>
          <a:p>
            <a:pPr lvl="1"/>
            <a:r>
              <a:rPr lang="es-ES" altLang="es-US" smtClean="0"/>
              <a:t>Segundo nivel</a:t>
            </a:r>
          </a:p>
          <a:p>
            <a:pPr lvl="2"/>
            <a:r>
              <a:rPr lang="es-ES" altLang="es-US" smtClean="0"/>
              <a:t>Tercer nivel</a:t>
            </a:r>
          </a:p>
          <a:p>
            <a:pPr lvl="3"/>
            <a:r>
              <a:rPr lang="es-ES" altLang="es-US" smtClean="0"/>
              <a:t>Cuarto nivel</a:t>
            </a:r>
          </a:p>
          <a:p>
            <a:pPr lvl="4"/>
            <a:r>
              <a:rPr lang="es-ES" altLang="es-US" smtClean="0"/>
              <a:t>Quinto nivel</a:t>
            </a:r>
            <a:endParaRPr lang="en-US" altLang="es-US" smtClean="0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 anchor="ctr" anchorCtr="0"/>
          <a:lstStyle>
            <a:lvl1pPr algn="r" defTabSz="91440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 anchor="ctr" anchorCtr="0"/>
          <a:lstStyle>
            <a:lvl1pPr defTabSz="91440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46050" y="621030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algn="ctr" defTabSz="914400">
              <a:defRPr sz="14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A0CF3FCD-1395-4C16-B1BB-B396D3C7214C}" type="slidenum">
              <a:rPr lang="en-US" altLang="es-US"/>
              <a:pPr/>
              <a:t>‹Nº›</a:t>
            </a:fld>
            <a:endParaRPr lang="en-US" altLang="es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Franklin Gothic Book" pitchFamily="34" charset="0"/>
        </a:defRPr>
      </a:lvl9pPr>
    </p:titleStyle>
    <p:bodyStyle>
      <a:lvl1pPr marL="273050" indent="-273050" algn="l" rtl="0" eaLnBrk="0" fontAlgn="base" hangingPunct="0">
        <a:spcBef>
          <a:spcPts val="575"/>
        </a:spcBef>
        <a:spcAft>
          <a:spcPct val="0"/>
        </a:spcAft>
        <a:buClr>
          <a:schemeClr val="accent1"/>
        </a:buClr>
        <a:buSzPct val="85000"/>
        <a:buFont typeface="Wingdings 2" panose="05020102010507070707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28600" algn="l" rtl="0" eaLnBrk="0" fontAlgn="base" hangingPunct="0">
        <a:spcBef>
          <a:spcPts val="375"/>
        </a:spcBef>
        <a:spcAft>
          <a:spcPct val="0"/>
        </a:spcAft>
        <a:buClr>
          <a:schemeClr val="accent2"/>
        </a:buClr>
        <a:buSzPct val="85000"/>
        <a:buFont typeface="Wingdings 2" panose="05020102010507070707" pitchFamily="18" charset="2"/>
        <a:buChar char="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ts val="375"/>
        </a:spcBef>
        <a:spcAft>
          <a:spcPct val="0"/>
        </a:spcAft>
        <a:buClr>
          <a:srgbClr val="E6B1AB"/>
        </a:buClr>
        <a:buSzPct val="85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ts val="375"/>
        </a:spcBef>
        <a:spcAft>
          <a:spcPct val="0"/>
        </a:spcAft>
        <a:buClr>
          <a:srgbClr val="A28E6A"/>
        </a:buClr>
        <a:buSzPct val="80000"/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75"/>
        </a:spcBef>
        <a:spcAft>
          <a:spcPct val="0"/>
        </a:spcAft>
        <a:buClr>
          <a:srgbClr val="A28E6A"/>
        </a:buClr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ítulo del patrón</a:t>
            </a:r>
            <a:endParaRPr lang="en-US" altLang="es-US" smtClean="0"/>
          </a:p>
        </p:txBody>
      </p:sp>
      <p:sp>
        <p:nvSpPr>
          <p:cNvPr id="5123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US" smtClean="0"/>
              <a:t>Haga clic para modificar el estilo de texto del patrón</a:t>
            </a:r>
          </a:p>
          <a:p>
            <a:pPr lvl="1"/>
            <a:r>
              <a:rPr lang="es-ES" altLang="es-US" smtClean="0"/>
              <a:t>Segundo nivel</a:t>
            </a:r>
          </a:p>
          <a:p>
            <a:pPr lvl="2"/>
            <a:r>
              <a:rPr lang="es-ES" altLang="es-US" smtClean="0"/>
              <a:t>Tercer nivel</a:t>
            </a:r>
          </a:p>
          <a:p>
            <a:pPr lvl="3"/>
            <a:r>
              <a:rPr lang="es-ES" altLang="es-US" smtClean="0"/>
              <a:t>Cuarto nivel</a:t>
            </a:r>
          </a:p>
          <a:p>
            <a:pPr lvl="4"/>
            <a:r>
              <a:rPr lang="es-ES" altLang="es-US" smtClean="0"/>
              <a:t>Quinto nivel</a:t>
            </a:r>
            <a:endParaRPr lang="en-US" altLang="es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93E5D512-AA23-4A19-B008-BD4F1C7739EA}" type="datetimeFigureOut">
              <a:rPr lang="es-ES"/>
              <a:pPr>
                <a:defRPr/>
              </a:pPr>
              <a:t>21/02/2020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01154D12-134E-4A5D-A5BA-D37EEF2CAFE3}" type="slidenum">
              <a:rPr lang="en-US" altLang="es-US"/>
              <a:pPr/>
              <a:t>‹Nº›</a:t>
            </a:fld>
            <a:endParaRPr lang="en-US" altLang="es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4" r:id="rId1"/>
    <p:sldLayoutId id="2147484305" r:id="rId2"/>
    <p:sldLayoutId id="2147484306" r:id="rId3"/>
    <p:sldLayoutId id="2147484307" r:id="rId4"/>
    <p:sldLayoutId id="2147484308" r:id="rId5"/>
    <p:sldLayoutId id="2147484309" r:id="rId6"/>
    <p:sldLayoutId id="2147484310" r:id="rId7"/>
    <p:sldLayoutId id="2147484311" r:id="rId8"/>
    <p:sldLayoutId id="2147484312" r:id="rId9"/>
    <p:sldLayoutId id="2147484313" r:id="rId10"/>
    <p:sldLayoutId id="2147484314" r:id="rId11"/>
    <p:sldLayoutId id="214748431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68813"/>
            <a:ext cx="9144000" cy="238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22 CuadroTexto"/>
          <p:cNvGrpSpPr>
            <a:grpSpLocks/>
          </p:cNvGrpSpPr>
          <p:nvPr/>
        </p:nvGrpSpPr>
        <p:grpSpPr bwMode="auto">
          <a:xfrm>
            <a:off x="1609725" y="6357938"/>
            <a:ext cx="7210425" cy="371475"/>
            <a:chOff x="1014" y="4005"/>
            <a:chExt cx="4542" cy="234"/>
          </a:xfrm>
        </p:grpSpPr>
        <p:pic>
          <p:nvPicPr>
            <p:cNvPr id="54275" name="22 CuadroTexto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4" y="4005"/>
              <a:ext cx="4542" cy="2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276" name="Text Box 4"/>
            <p:cNvSpPr txBox="1">
              <a:spLocks noChangeArrowheads="1"/>
            </p:cNvSpPr>
            <p:nvPr/>
          </p:nvSpPr>
          <p:spPr bwMode="auto">
            <a:xfrm>
              <a:off x="1012" y="4005"/>
              <a:ext cx="454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914400" eaLnBrk="1" hangingPunct="1"/>
              <a:r>
                <a:rPr lang="en-US" altLang="es-US" sz="1800">
                  <a:solidFill>
                    <a:srgbClr val="000000"/>
                  </a:solidFill>
                  <a:latin typeface="Berlin Sans FB" panose="020E0602020502020306" pitchFamily="34" charset="0"/>
                </a:rPr>
                <a:t>San Salvador; El Salvador, 23 y 24 de octubre </a:t>
              </a:r>
              <a:r>
                <a:rPr lang="es-ES" altLang="es-US" sz="1800">
                  <a:solidFill>
                    <a:srgbClr val="000000"/>
                  </a:solidFill>
                  <a:latin typeface="Berlin Sans FB" panose="020E0602020502020306" pitchFamily="34" charset="0"/>
                </a:rPr>
                <a:t>de 2011</a:t>
              </a:r>
              <a:r>
                <a:rPr lang="en-US" altLang="es-US" sz="1800">
                  <a:solidFill>
                    <a:srgbClr val="534733"/>
                  </a:solidFill>
                  <a:latin typeface="Berlin Sans FB" panose="020E0602020502020306" pitchFamily="34" charset="0"/>
                </a:rPr>
                <a:t>”</a:t>
              </a:r>
            </a:p>
          </p:txBody>
        </p:sp>
      </p:grpSp>
      <p:sp>
        <p:nvSpPr>
          <p:cNvPr id="24" name="23 Rectángulo"/>
          <p:cNvSpPr/>
          <p:nvPr/>
        </p:nvSpPr>
        <p:spPr>
          <a:xfrm>
            <a:off x="928688" y="3789363"/>
            <a:ext cx="7286625" cy="78581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R" sz="2000" b="1" dirty="0">
                <a:solidFill>
                  <a:prstClr val="white"/>
                </a:solidFill>
              </a:rPr>
              <a:t>PANEL IV DESDE LA GESTIÓN DE RIESGOS, RESTAURACIÓN Y ADAPTACIÓN 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5500688" y="4714875"/>
            <a:ext cx="3000375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prstClr val="black"/>
                </a:solidFill>
                <a:latin typeface="Perpetua"/>
                <a:ea typeface="+mn-ea"/>
              </a:rPr>
              <a:t>MBA Manuel Jiménez</a:t>
            </a:r>
          </a:p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prstClr val="black"/>
                </a:solidFill>
                <a:latin typeface="Perpetua"/>
                <a:ea typeface="+mn-ea"/>
              </a:rPr>
              <a:t>SECAC</a:t>
            </a:r>
          </a:p>
        </p:txBody>
      </p:sp>
      <p:sp>
        <p:nvSpPr>
          <p:cNvPr id="54280" name="Text Box 2"/>
          <p:cNvSpPr txBox="1">
            <a:spLocks noChangeArrowheads="1"/>
          </p:cNvSpPr>
          <p:nvPr/>
        </p:nvSpPr>
        <p:spPr bwMode="auto">
          <a:xfrm>
            <a:off x="0" y="1052513"/>
            <a:ext cx="9144000" cy="488950"/>
          </a:xfrm>
          <a:prstGeom prst="rect">
            <a:avLst/>
          </a:prstGeom>
          <a:solidFill>
            <a:srgbClr val="004C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922338" indent="-7938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defTabSz="914400" eaLnBrk="1" hangingPunct="1">
              <a:spcAft>
                <a:spcPts val="600"/>
              </a:spcAft>
            </a:pPr>
            <a:r>
              <a:rPr lang="es-SV" altLang="es-US" sz="1400" b="1">
                <a:solidFill>
                  <a:srgbClr val="FFFFFF"/>
                </a:solidFill>
                <a:latin typeface="Book Antiqua" panose="02040602050305030304" pitchFamily="18" charset="0"/>
                <a:cs typeface="Times New Roman" panose="02020603050405020304" pitchFamily="18" charset="0"/>
              </a:rPr>
              <a:t>Iniciativa Colaborativa de Diálogo e Investigación sobre Dinámicas Territoriales en Centroamérica</a:t>
            </a:r>
            <a:endParaRPr lang="es-CR" altLang="es-US" sz="900">
              <a:solidFill>
                <a:srgbClr val="FFFFFF"/>
              </a:solidFill>
              <a:latin typeface="Palatino"/>
              <a:cs typeface="Times New Roman" panose="02020603050405020304" pitchFamily="18" charset="0"/>
            </a:endParaRPr>
          </a:p>
        </p:txBody>
      </p:sp>
      <p:pic>
        <p:nvPicPr>
          <p:cNvPr id="5428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-77788"/>
            <a:ext cx="9144001" cy="106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34963" y="1700213"/>
            <a:ext cx="8488362" cy="1016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SV" sz="2000" b="1" i="1" dirty="0">
                <a:solidFill>
                  <a:prstClr val="black"/>
                </a:solidFill>
                <a:latin typeface="Perpetua"/>
                <a:ea typeface="+mn-ea"/>
              </a:rPr>
              <a:t>Diálogo Regional</a:t>
            </a:r>
            <a:endParaRPr lang="es-CR" sz="2000" b="1" dirty="0">
              <a:solidFill>
                <a:prstClr val="black"/>
              </a:solidFill>
              <a:latin typeface="Perpetua"/>
              <a:ea typeface="+mn-ea"/>
            </a:endParaRP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SV" sz="2000" b="1" dirty="0">
                <a:solidFill>
                  <a:prstClr val="black"/>
                </a:solidFill>
                <a:latin typeface="Perpetua"/>
                <a:ea typeface="+mn-ea"/>
              </a:rPr>
              <a:t>Cambio Climático en Centroamérica: Desafíos para la Gobernanza Territorial</a:t>
            </a:r>
            <a:endParaRPr lang="es-CR" sz="2000" b="1" dirty="0">
              <a:solidFill>
                <a:prstClr val="black"/>
              </a:solidFill>
              <a:latin typeface="Perpetua"/>
              <a:ea typeface="+mn-ea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CR" sz="2000" dirty="0">
              <a:solidFill>
                <a:prstClr val="black"/>
              </a:solidFill>
              <a:latin typeface="Perpetua"/>
              <a:ea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8229600" cy="782638"/>
          </a:xfrm>
        </p:spPr>
        <p:txBody>
          <a:bodyPr/>
          <a:lstStyle/>
          <a:p>
            <a:r>
              <a:rPr lang="es-CR" altLang="es-US" sz="3600" b="1" smtClean="0"/>
              <a:t>NUEVO PARADIGMA SSA DEL SIC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570038"/>
            <a:ext cx="8229600" cy="4881562"/>
          </a:xfrm>
        </p:spPr>
        <p:txBody>
          <a:bodyPr>
            <a:normAutofit fontScale="55000" lnSpcReduction="20000"/>
          </a:bodyPr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s-ES" b="1" dirty="0" smtClean="0"/>
              <a:t>Gestión </a:t>
            </a:r>
            <a:r>
              <a:rPr lang="es-ES" b="1" dirty="0"/>
              <a:t>Integral del Riesgo </a:t>
            </a:r>
            <a:r>
              <a:rPr lang="es-ES" b="1" dirty="0" smtClean="0"/>
              <a:t>Climático 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endParaRPr lang="es-ES" sz="1600" b="1" dirty="0" smtClean="0"/>
          </a:p>
          <a:p>
            <a:pPr>
              <a:defRPr/>
            </a:pPr>
            <a:r>
              <a:rPr lang="es-ES_tradnl" dirty="0" smtClean="0"/>
              <a:t>Nuevo </a:t>
            </a:r>
            <a:r>
              <a:rPr lang="es-ES_tradnl" dirty="0"/>
              <a:t>enfoque, resultado de la XXXVIII Cumbre del SICA y del Grupo Consultivo celebrado en esa misma </a:t>
            </a:r>
            <a:r>
              <a:rPr lang="es-ES_tradnl" dirty="0" smtClean="0"/>
              <a:t>oportunidad</a:t>
            </a:r>
          </a:p>
          <a:p>
            <a:pPr>
              <a:defRPr/>
            </a:pPr>
            <a:endParaRPr lang="es-ES_tradnl" sz="1600" dirty="0" smtClean="0"/>
          </a:p>
          <a:p>
            <a:pPr>
              <a:defRPr/>
            </a:pPr>
            <a:r>
              <a:rPr lang="es-ES_tradnl" dirty="0" smtClean="0"/>
              <a:t>Fortalece los </a:t>
            </a:r>
            <a:r>
              <a:rPr lang="es-ES_tradnl" dirty="0"/>
              <a:t>criterios para la gestión integral del riesgo y la adaptación al cambio </a:t>
            </a:r>
            <a:r>
              <a:rPr lang="es-ES_tradnl" dirty="0" smtClean="0"/>
              <a:t>climático.  </a:t>
            </a:r>
          </a:p>
          <a:p>
            <a:pPr>
              <a:defRPr/>
            </a:pPr>
            <a:endParaRPr lang="es-ES_tradnl" sz="1600" dirty="0" smtClean="0"/>
          </a:p>
          <a:p>
            <a:pPr>
              <a:defRPr/>
            </a:pPr>
            <a:r>
              <a:rPr lang="es-ES_tradnl" dirty="0" smtClean="0"/>
              <a:t>Propone que la </a:t>
            </a:r>
            <a:r>
              <a:rPr lang="es-ES_tradnl" dirty="0"/>
              <a:t>institucionalidad regional competente, </a:t>
            </a:r>
            <a:r>
              <a:rPr lang="es-ES_tradnl" dirty="0" smtClean="0"/>
              <a:t>coordine </a:t>
            </a:r>
            <a:r>
              <a:rPr lang="es-ES_tradnl" dirty="0"/>
              <a:t>y </a:t>
            </a:r>
            <a:r>
              <a:rPr lang="es-ES_tradnl" dirty="0" smtClean="0"/>
              <a:t>promueva las acciones </a:t>
            </a:r>
            <a:r>
              <a:rPr lang="es-ES_tradnl" dirty="0"/>
              <a:t>y medidas necesarias que reduzcan vulnerabilidades e incrementen </a:t>
            </a:r>
            <a:r>
              <a:rPr lang="es-ES_tradnl" dirty="0" err="1"/>
              <a:t>resiliencia</a:t>
            </a:r>
            <a:r>
              <a:rPr lang="es-ES_tradnl" dirty="0" smtClean="0"/>
              <a:t>.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endParaRPr lang="es-ES_tradnl" sz="1600" dirty="0" smtClean="0"/>
          </a:p>
          <a:p>
            <a:pPr marL="0" indent="0" algn="just">
              <a:buFont typeface="Arial" panose="020B0604020202020204" pitchFamily="34" charset="0"/>
              <a:buNone/>
              <a:defRPr/>
            </a:pPr>
            <a:r>
              <a:rPr lang="es-CR" dirty="0" smtClean="0"/>
              <a:t>“Integración </a:t>
            </a:r>
            <a:r>
              <a:rPr lang="es-CR" dirty="0"/>
              <a:t>es un término que está referido a una doble dimensión</a:t>
            </a:r>
            <a:r>
              <a:rPr lang="es-CR" dirty="0" smtClean="0"/>
              <a:t>: la </a:t>
            </a:r>
            <a:r>
              <a:rPr lang="es-CR" dirty="0"/>
              <a:t>integración de la </a:t>
            </a:r>
            <a:r>
              <a:rPr lang="es-CR" dirty="0" err="1"/>
              <a:t>GdR</a:t>
            </a:r>
            <a:r>
              <a:rPr lang="es-CR" dirty="0"/>
              <a:t> con la ACC, habiendo surgido cada </a:t>
            </a:r>
            <a:r>
              <a:rPr lang="es-CR" dirty="0" smtClean="0"/>
              <a:t>una individualmente </a:t>
            </a:r>
            <a:r>
              <a:rPr lang="es-CR" dirty="0"/>
              <a:t>y con sentidos propios; pero también la </a:t>
            </a:r>
            <a:r>
              <a:rPr lang="es-CR" dirty="0" smtClean="0"/>
              <a:t>integración de </a:t>
            </a:r>
            <a:r>
              <a:rPr lang="es-CR" dirty="0"/>
              <a:t>ambas en los procesos de inversión pública y planificación</a:t>
            </a:r>
            <a:r>
              <a:rPr lang="es-CR" dirty="0" smtClean="0"/>
              <a:t>. </a:t>
            </a:r>
            <a:r>
              <a:rPr lang="es-CR" dirty="0"/>
              <a:t>Se trata, entonces, de dos acercamientos estratégicos y un </a:t>
            </a:r>
            <a:r>
              <a:rPr lang="es-CR" dirty="0" smtClean="0"/>
              <a:t>doble objetivo</a:t>
            </a:r>
            <a:r>
              <a:rPr lang="es-CR" dirty="0"/>
              <a:t>, pero orientados a uno superior: el desarrollo </a:t>
            </a:r>
            <a:r>
              <a:rPr lang="es-CR" dirty="0" smtClean="0"/>
              <a:t>sostenible” (A. </a:t>
            </a:r>
            <a:r>
              <a:rPr lang="es-CR" dirty="0" err="1" smtClean="0"/>
              <a:t>Label</a:t>
            </a:r>
            <a:r>
              <a:rPr lang="es-CR" dirty="0" smtClean="0"/>
              <a:t>)</a:t>
            </a:r>
          </a:p>
          <a:p>
            <a:pPr marL="0" indent="0" algn="just">
              <a:buFont typeface="Arial" panose="020B0604020202020204" pitchFamily="34" charset="0"/>
              <a:buNone/>
              <a:defRPr/>
            </a:pPr>
            <a:endParaRPr lang="es-CR" dirty="0"/>
          </a:p>
          <a:p>
            <a:pPr marL="0" indent="0" algn="just">
              <a:buFont typeface="Arial" panose="020B0604020202020204" pitchFamily="34" charset="0"/>
              <a:buNone/>
              <a:defRPr/>
            </a:pPr>
            <a:r>
              <a:rPr lang="es-CR" dirty="0" smtClean="0"/>
              <a:t>Integración de </a:t>
            </a:r>
            <a:r>
              <a:rPr lang="es-CR" b="1" dirty="0" err="1" smtClean="0"/>
              <a:t>GdR</a:t>
            </a:r>
            <a:r>
              <a:rPr lang="es-CR" b="1" dirty="0" smtClean="0"/>
              <a:t> y ACC </a:t>
            </a:r>
            <a:r>
              <a:rPr lang="es-CR" dirty="0" smtClean="0"/>
              <a:t>son clave en factores tales como:  Inversión, planificación y conocimiento</a:t>
            </a:r>
            <a:endParaRPr lang="es-C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>
          <a:xfrm>
            <a:off x="254000" y="571500"/>
            <a:ext cx="8648700" cy="846138"/>
          </a:xfrm>
        </p:spPr>
        <p:txBody>
          <a:bodyPr/>
          <a:lstStyle/>
          <a:p>
            <a:r>
              <a:rPr lang="es-CR" altLang="es-US" sz="3200" smtClean="0"/>
              <a:t>INSTITUCIONALIZACIÓN EN EL MARCO DEL CAC</a:t>
            </a:r>
          </a:p>
        </p:txBody>
      </p:sp>
      <p:sp>
        <p:nvSpPr>
          <p:cNvPr id="36867" name="Content Placeholder 2"/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708525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s-CR" sz="2400" dirty="0" smtClean="0"/>
              <a:t>El CAC ha constituido un Grupo Técnico de Cambio climático, gestión del riesgo y seguro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s-CR" sz="2400" dirty="0" smtClean="0"/>
              <a:t>CAMBIO CLIMÁTICO</a:t>
            </a:r>
          </a:p>
          <a:p>
            <a:pPr>
              <a:defRPr/>
            </a:pPr>
            <a:r>
              <a:rPr lang="es-CR" sz="2400" dirty="0" smtClean="0"/>
              <a:t>Mitigación</a:t>
            </a:r>
          </a:p>
          <a:p>
            <a:pPr>
              <a:defRPr/>
            </a:pPr>
            <a:r>
              <a:rPr lang="es-CR" sz="2400" dirty="0" smtClean="0"/>
              <a:t>Adaptación </a:t>
            </a:r>
          </a:p>
          <a:p>
            <a:pPr>
              <a:defRPr/>
            </a:pPr>
            <a:r>
              <a:rPr lang="es-CR" sz="2400" dirty="0" smtClean="0"/>
              <a:t>Reducción de vulnerabilidad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s-CR" sz="2400" dirty="0" smtClean="0"/>
              <a:t>ENFOQUES EN GESTIÓN DEL RIESGO *</a:t>
            </a:r>
            <a:endParaRPr lang="es-CR" sz="2400" dirty="0"/>
          </a:p>
          <a:p>
            <a:pPr>
              <a:buFontTx/>
              <a:buChar char="-"/>
              <a:defRPr/>
            </a:pPr>
            <a:r>
              <a:rPr lang="es-CR" sz="2400" dirty="0" smtClean="0"/>
              <a:t>Retención (</a:t>
            </a:r>
            <a:r>
              <a:rPr lang="es-BO" sz="2400" dirty="0" smtClean="0"/>
              <a:t>perfeccionar la gestión del riesgo de desastres)</a:t>
            </a:r>
          </a:p>
          <a:p>
            <a:pPr>
              <a:buFontTx/>
              <a:buChar char="-"/>
              <a:defRPr/>
            </a:pPr>
            <a:r>
              <a:rPr lang="es-BO" sz="2400" dirty="0" smtClean="0"/>
              <a:t>Transferencia (seguros)</a:t>
            </a:r>
          </a:p>
          <a:p>
            <a:pPr>
              <a:buFontTx/>
              <a:buChar char="-"/>
              <a:defRPr/>
            </a:pPr>
            <a:r>
              <a:rPr lang="es-BO" sz="2400" dirty="0" smtClean="0"/>
              <a:t>Construcción de </a:t>
            </a:r>
            <a:r>
              <a:rPr lang="es-BO" sz="2400" dirty="0" err="1" smtClean="0"/>
              <a:t>resiliencia</a:t>
            </a:r>
            <a:r>
              <a:rPr lang="es-BO" sz="2400" dirty="0" smtClean="0"/>
              <a:t> (diversificación por ejemplo)</a:t>
            </a:r>
            <a:endParaRPr lang="es-CR" sz="2400" dirty="0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188B0EC9-14D1-437D-A2A2-EBE29B7C52AD}" type="slidenum">
              <a:rPr lang="en-US" altLang="es-US">
                <a:solidFill>
                  <a:schemeClr val="bg1"/>
                </a:solidFill>
                <a:latin typeface="Times New Roman" panose="02020603050405020304" pitchFamily="18" charset="0"/>
              </a:rPr>
              <a:pPr eaLnBrk="1" hangingPunct="1"/>
              <a:t>11</a:t>
            </a:fld>
            <a:endParaRPr lang="en-US" altLang="es-US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1300" y="6049963"/>
            <a:ext cx="8648700" cy="40005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s-BO" sz="2000" i="1" dirty="0"/>
              <a:t>* Fuente: Adaptado de  I. </a:t>
            </a:r>
            <a:r>
              <a:rPr lang="es-BO" sz="2000" i="1" dirty="0" err="1"/>
              <a:t>Kriesler</a:t>
            </a:r>
            <a:r>
              <a:rPr lang="es-BO" sz="2000" i="1" dirty="0"/>
              <a:t> PNU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Title 1"/>
          <p:cNvSpPr>
            <a:spLocks noGrp="1"/>
          </p:cNvSpPr>
          <p:nvPr>
            <p:ph type="title"/>
          </p:nvPr>
        </p:nvSpPr>
        <p:spPr>
          <a:xfrm>
            <a:off x="457200" y="439738"/>
            <a:ext cx="8229600" cy="1143000"/>
          </a:xfrm>
        </p:spPr>
        <p:txBody>
          <a:bodyPr/>
          <a:lstStyle/>
          <a:p>
            <a:r>
              <a:rPr lang="es-CR" altLang="es-US" sz="3600" smtClean="0"/>
              <a:t>CONSIDERACIONES GENERALES </a:t>
            </a:r>
          </a:p>
        </p:txBody>
      </p:sp>
      <p:sp>
        <p:nvSpPr>
          <p:cNvPr id="65539" name="Content Placeholder 2"/>
          <p:cNvSpPr>
            <a:spLocks noGrp="1"/>
          </p:cNvSpPr>
          <p:nvPr>
            <p:ph idx="1"/>
          </p:nvPr>
        </p:nvSpPr>
        <p:spPr>
          <a:xfrm>
            <a:off x="457200" y="1308100"/>
            <a:ext cx="8229600" cy="4818063"/>
          </a:xfrm>
        </p:spPr>
        <p:txBody>
          <a:bodyPr/>
          <a:lstStyle/>
          <a:p>
            <a:pPr algn="just"/>
            <a:r>
              <a:rPr lang="es-CR" altLang="es-US" sz="1800" smtClean="0"/>
              <a:t>La adaptación basada en Ecosistemas integra el manejo sostenible, la conservación y la restauración de ecosistemas para proveer servicios que permiten a las personas adaptarse a los impactos del cambio climático. (UICN)</a:t>
            </a:r>
          </a:p>
          <a:p>
            <a:pPr algn="just"/>
            <a:r>
              <a:rPr lang="es-CR" altLang="es-US" sz="1800" smtClean="0"/>
              <a:t>Se hace necesario considerar las relaciones entre la gestión del riesgo y los objetivos y mecanismos para la adaptación y mitigación del cambio climático. Afianzar las  sinergias entre ellos fortalece la acción, la eficacia y la eficiencia de ambos procesos. (Adaptado de EIRD) </a:t>
            </a:r>
          </a:p>
          <a:p>
            <a:pPr algn="just"/>
            <a:r>
              <a:rPr lang="es-CR" altLang="es-US" sz="1800" smtClean="0"/>
              <a:t>Es también claro que la GIR para la agricultura incluye riesgos asociados con otras amenazas naturales como los sismos, y otros de carácter sanitario, de precios por ejemplo, que eventualmente se refuerzan o guardan relacionan con los riesgos climáticos</a:t>
            </a:r>
          </a:p>
          <a:p>
            <a:pPr algn="just"/>
            <a:r>
              <a:rPr lang="es-CR" altLang="es-US" sz="1800" smtClean="0"/>
              <a:t>La gestión prospectiva del riesgo, es la capacidad de anticipar el riesgo que podría generarse a futuro y por tanto se asemeja a la adaptación. En tanto, la gestión de riesgos se enfoca en extremos, en materia de CC los promedios también cuentan (Adaptado de A. Lavel) ACC y GdR deben ser entendidas y asumidas como algo transversal  e intrínseco al desarrollo</a:t>
            </a:r>
          </a:p>
          <a:p>
            <a:pPr algn="just"/>
            <a:endParaRPr lang="es-CR" altLang="es-US" sz="1800" smtClean="0"/>
          </a:p>
          <a:p>
            <a:endParaRPr lang="es-CR" altLang="es-US" smtClean="0"/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EF64EF53-606F-4CCC-927A-EED7CDC67B83}" type="slidenum">
              <a:rPr lang="en-US" altLang="es-US">
                <a:solidFill>
                  <a:schemeClr val="bg1"/>
                </a:solidFill>
                <a:latin typeface="Times New Roman" panose="02020603050405020304" pitchFamily="18" charset="0"/>
              </a:rPr>
              <a:pPr eaLnBrk="1" hangingPunct="1"/>
              <a:t>12</a:t>
            </a:fld>
            <a:endParaRPr lang="en-US" altLang="es-US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le 1"/>
          <p:cNvSpPr>
            <a:spLocks noGrp="1"/>
          </p:cNvSpPr>
          <p:nvPr>
            <p:ph type="title"/>
          </p:nvPr>
        </p:nvSpPr>
        <p:spPr>
          <a:xfrm>
            <a:off x="457200" y="681038"/>
            <a:ext cx="8229600" cy="703262"/>
          </a:xfrm>
        </p:spPr>
        <p:txBody>
          <a:bodyPr/>
          <a:lstStyle/>
          <a:p>
            <a:r>
              <a:rPr lang="es-CR" altLang="es-US" sz="3200" b="1" smtClean="0"/>
              <a:t>REFLEXIONES FINALES</a:t>
            </a:r>
          </a:p>
        </p:txBody>
      </p:sp>
      <p:sp>
        <p:nvSpPr>
          <p:cNvPr id="6656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CR" altLang="es-US" sz="2000" smtClean="0"/>
              <a:t>El sector agrícola regional ha modernizado su marco institucional y cuenta con un marco de políticas sectoriales e intersectoriales, en las que consistentemente figuran como temas clave: CC, GdR y SAN</a:t>
            </a:r>
          </a:p>
          <a:p>
            <a:r>
              <a:rPr lang="es-CR" altLang="es-US" sz="2000" smtClean="0"/>
              <a:t>La región cuenta además con instrumentos intersectoriales o transectoriales  que abordan de manera específica estos temas (ERCC, PCGIR y POLSAN)</a:t>
            </a:r>
          </a:p>
          <a:p>
            <a:r>
              <a:rPr lang="es-CR" altLang="es-US" sz="2000" smtClean="0"/>
              <a:t>Estos instrumentos (ERCC, PCGIR y POLSAN) reconocen y proponen la articulación con las políticas y estrategias que les anteceden. </a:t>
            </a:r>
          </a:p>
          <a:p>
            <a:r>
              <a:rPr lang="es-CR" altLang="es-US" sz="2000" smtClean="0"/>
              <a:t>Además en el orden en que se formulan anticipan la relación temática o refieren de manera explícita a  o los instrumentos que le sirven de antecedente.</a:t>
            </a:r>
          </a:p>
          <a:p>
            <a:endParaRPr lang="es-CR" altLang="es-US" sz="2000" smtClean="0"/>
          </a:p>
          <a:p>
            <a:endParaRPr lang="es-CR" altLang="es-US" sz="2000" smtClean="0"/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1B7E58D6-AA68-4DAA-B00B-F36F5D0627A2}" type="slidenum">
              <a:rPr lang="en-US" altLang="es-US">
                <a:solidFill>
                  <a:schemeClr val="bg1"/>
                </a:solidFill>
                <a:latin typeface="Times New Roman" panose="02020603050405020304" pitchFamily="18" charset="0"/>
              </a:rPr>
              <a:pPr eaLnBrk="1" hangingPunct="1"/>
              <a:t>13</a:t>
            </a:fld>
            <a:endParaRPr lang="en-US" altLang="es-US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14 Rectángulo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438" y="4108450"/>
            <a:ext cx="6059487" cy="149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15 CuadroTexto"/>
          <p:cNvSpPr txBox="1"/>
          <p:nvPr/>
        </p:nvSpPr>
        <p:spPr>
          <a:xfrm>
            <a:off x="2357438" y="5429250"/>
            <a:ext cx="4786312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800" dirty="0">
                <a:solidFill>
                  <a:prstClr val="black"/>
                </a:solidFill>
                <a:latin typeface="Calibri"/>
                <a:ea typeface="+mn-ea"/>
              </a:rPr>
              <a:t>Manuel Jiménez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800" dirty="0">
                <a:solidFill>
                  <a:prstClr val="black"/>
                </a:solidFill>
                <a:latin typeface="Calibri"/>
                <a:ea typeface="+mn-ea"/>
              </a:rPr>
              <a:t>Secretaría del Consejo Agropecuario Centroamericano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800" dirty="0">
                <a:solidFill>
                  <a:srgbClr val="0000FF"/>
                </a:solidFill>
                <a:latin typeface="Calibri"/>
                <a:ea typeface="+mn-ea"/>
              </a:rPr>
              <a:t>[manuel.jimenez@iica.int]</a:t>
            </a:r>
            <a:endParaRPr lang="es-CR" sz="1800" dirty="0">
              <a:solidFill>
                <a:srgbClr val="0000FF"/>
              </a:solidFill>
              <a:latin typeface="Calibri"/>
              <a:ea typeface="+mn-ea"/>
            </a:endParaRPr>
          </a:p>
        </p:txBody>
      </p:sp>
      <p:pic>
        <p:nvPicPr>
          <p:cNvPr id="67588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1913" y="1804988"/>
            <a:ext cx="3733800" cy="126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14 Rectángulo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3838" y="566738"/>
            <a:ext cx="6059487" cy="121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1 Título"/>
          <p:cNvSpPr>
            <a:spLocks noGrp="1"/>
          </p:cNvSpPr>
          <p:nvPr>
            <p:ph type="title"/>
          </p:nvPr>
        </p:nvSpPr>
        <p:spPr>
          <a:xfrm>
            <a:off x="457200" y="635000"/>
            <a:ext cx="8229600" cy="782638"/>
          </a:xfrm>
        </p:spPr>
        <p:txBody>
          <a:bodyPr/>
          <a:lstStyle/>
          <a:p>
            <a:r>
              <a:rPr lang="en-US" altLang="es-US" smtClean="0"/>
              <a:t>CONTENIDO</a:t>
            </a:r>
          </a:p>
        </p:txBody>
      </p:sp>
      <p:sp>
        <p:nvSpPr>
          <p:cNvPr id="55299" name="Line 2"/>
          <p:cNvSpPr>
            <a:spLocks noChangeShapeType="1"/>
          </p:cNvSpPr>
          <p:nvPr/>
        </p:nvSpPr>
        <p:spPr bwMode="auto">
          <a:xfrm flipV="1">
            <a:off x="2368550" y="2057400"/>
            <a:ext cx="381000" cy="38100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sp>
        <p:nvSpPr>
          <p:cNvPr id="55300" name="Line 3"/>
          <p:cNvSpPr>
            <a:spLocks noChangeShapeType="1"/>
          </p:cNvSpPr>
          <p:nvPr/>
        </p:nvSpPr>
        <p:spPr bwMode="auto">
          <a:xfrm>
            <a:off x="2292350" y="4724400"/>
            <a:ext cx="457200" cy="30480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sp>
        <p:nvSpPr>
          <p:cNvPr id="55301" name="Line 4"/>
          <p:cNvSpPr>
            <a:spLocks noChangeShapeType="1"/>
          </p:cNvSpPr>
          <p:nvPr/>
        </p:nvSpPr>
        <p:spPr bwMode="auto">
          <a:xfrm>
            <a:off x="2749550" y="2057400"/>
            <a:ext cx="609600" cy="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sp>
        <p:nvSpPr>
          <p:cNvPr id="55302" name="Line 5"/>
          <p:cNvSpPr>
            <a:spLocks noChangeShapeType="1"/>
          </p:cNvSpPr>
          <p:nvPr/>
        </p:nvSpPr>
        <p:spPr bwMode="auto">
          <a:xfrm>
            <a:off x="2749550" y="5029200"/>
            <a:ext cx="609600" cy="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sp>
        <p:nvSpPr>
          <p:cNvPr id="55303" name="Line 6"/>
          <p:cNvSpPr>
            <a:spLocks noChangeShapeType="1"/>
          </p:cNvSpPr>
          <p:nvPr/>
        </p:nvSpPr>
        <p:spPr bwMode="auto">
          <a:xfrm flipV="1">
            <a:off x="2673350" y="2819400"/>
            <a:ext cx="685800" cy="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sp>
        <p:nvSpPr>
          <p:cNvPr id="55304" name="Line 7"/>
          <p:cNvSpPr>
            <a:spLocks noChangeShapeType="1"/>
          </p:cNvSpPr>
          <p:nvPr/>
        </p:nvSpPr>
        <p:spPr bwMode="auto">
          <a:xfrm>
            <a:off x="2749550" y="3581400"/>
            <a:ext cx="609600" cy="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sp>
        <p:nvSpPr>
          <p:cNvPr id="55305" name="Line 8"/>
          <p:cNvSpPr>
            <a:spLocks noChangeShapeType="1"/>
          </p:cNvSpPr>
          <p:nvPr/>
        </p:nvSpPr>
        <p:spPr bwMode="auto">
          <a:xfrm flipV="1">
            <a:off x="2673350" y="4267200"/>
            <a:ext cx="685800" cy="0"/>
          </a:xfrm>
          <a:prstGeom prst="line">
            <a:avLst/>
          </a:prstGeom>
          <a:noFill/>
          <a:ln w="12700" cap="rnd">
            <a:solidFill>
              <a:srgbClr val="0033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US"/>
          </a:p>
        </p:txBody>
      </p:sp>
      <p:grpSp>
        <p:nvGrpSpPr>
          <p:cNvPr id="55306" name="Group 10"/>
          <p:cNvGrpSpPr>
            <a:grpSpLocks/>
          </p:cNvGrpSpPr>
          <p:nvPr/>
        </p:nvGrpSpPr>
        <p:grpSpPr bwMode="auto">
          <a:xfrm>
            <a:off x="304800" y="2205038"/>
            <a:ext cx="2673350" cy="2671762"/>
            <a:chOff x="140" y="1419"/>
            <a:chExt cx="1684" cy="1683"/>
          </a:xfrm>
        </p:grpSpPr>
        <p:sp>
          <p:nvSpPr>
            <p:cNvPr id="13" name="Oval 11"/>
            <p:cNvSpPr>
              <a:spLocks noChangeArrowheads="1"/>
            </p:cNvSpPr>
            <p:nvPr/>
          </p:nvSpPr>
          <p:spPr bwMode="gray">
            <a:xfrm>
              <a:off x="140" y="1419"/>
              <a:ext cx="1684" cy="168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tint val="0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  <p:sp>
          <p:nvSpPr>
            <p:cNvPr id="14" name="Oval 12"/>
            <p:cNvSpPr>
              <a:spLocks noChangeArrowheads="1"/>
            </p:cNvSpPr>
            <p:nvPr/>
          </p:nvSpPr>
          <p:spPr bwMode="gray">
            <a:xfrm>
              <a:off x="251" y="1528"/>
              <a:ext cx="1461" cy="146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shade val="54118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  <p:sp>
          <p:nvSpPr>
            <p:cNvPr id="15" name="Oval 13"/>
            <p:cNvSpPr>
              <a:spLocks noChangeArrowheads="1"/>
            </p:cNvSpPr>
            <p:nvPr/>
          </p:nvSpPr>
          <p:spPr bwMode="gray">
            <a:xfrm>
              <a:off x="258" y="1536"/>
              <a:ext cx="1461" cy="1462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gamma/>
                    <a:shade val="63529"/>
                    <a:invGamma/>
                  </a:schemeClr>
                </a:gs>
                <a:gs pos="100000">
                  <a:schemeClr val="folHlink">
                    <a:alpha val="0"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s-ES">
                <a:latin typeface="Arial" charset="0"/>
              </a:endParaRPr>
            </a:p>
          </p:txBody>
        </p:sp>
        <p:sp>
          <p:nvSpPr>
            <p:cNvPr id="55328" name="Oval 14"/>
            <p:cNvSpPr>
              <a:spLocks noChangeArrowheads="1"/>
            </p:cNvSpPr>
            <p:nvPr/>
          </p:nvSpPr>
          <p:spPr bwMode="gray">
            <a:xfrm>
              <a:off x="323" y="1602"/>
              <a:ext cx="1317" cy="1316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81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s-ES" altLang="es-US"/>
            </a:p>
          </p:txBody>
        </p:sp>
        <p:sp>
          <p:nvSpPr>
            <p:cNvPr id="55329" name="Oval 15"/>
            <p:cNvSpPr>
              <a:spLocks noChangeArrowheads="1"/>
            </p:cNvSpPr>
            <p:nvPr/>
          </p:nvSpPr>
          <p:spPr bwMode="gray">
            <a:xfrm>
              <a:off x="344" y="1623"/>
              <a:ext cx="1276" cy="1277"/>
            </a:xfrm>
            <a:prstGeom prst="ellipse">
              <a:avLst/>
            </a:prstGeom>
            <a:gradFill rotWithShape="1">
              <a:gsLst>
                <a:gs pos="0">
                  <a:srgbClr val="636869"/>
                </a:gs>
                <a:gs pos="100000">
                  <a:srgbClr val="D6E1E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s-ES" altLang="es-US"/>
            </a:p>
          </p:txBody>
        </p:sp>
        <p:sp>
          <p:nvSpPr>
            <p:cNvPr id="55330" name="Oval 16"/>
            <p:cNvSpPr>
              <a:spLocks noChangeArrowheads="1"/>
            </p:cNvSpPr>
            <p:nvPr/>
          </p:nvSpPr>
          <p:spPr bwMode="gray">
            <a:xfrm>
              <a:off x="360" y="1630"/>
              <a:ext cx="1246" cy="1246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F1F5F5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s-ES" altLang="es-US"/>
            </a:p>
          </p:txBody>
        </p:sp>
        <p:sp>
          <p:nvSpPr>
            <p:cNvPr id="55331" name="Oval 17"/>
            <p:cNvSpPr>
              <a:spLocks noChangeArrowheads="1"/>
            </p:cNvSpPr>
            <p:nvPr/>
          </p:nvSpPr>
          <p:spPr bwMode="gray">
            <a:xfrm>
              <a:off x="374" y="1642"/>
              <a:ext cx="1184" cy="1164"/>
            </a:xfrm>
            <a:prstGeom prst="ellipse">
              <a:avLst/>
            </a:prstGeom>
            <a:gradFill rotWithShape="1">
              <a:gsLst>
                <a:gs pos="0">
                  <a:srgbClr val="AAB2B3"/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s-ES" altLang="es-US"/>
            </a:p>
          </p:txBody>
        </p:sp>
        <p:sp>
          <p:nvSpPr>
            <p:cNvPr id="55332" name="Oval 18"/>
            <p:cNvSpPr>
              <a:spLocks noChangeArrowheads="1"/>
            </p:cNvSpPr>
            <p:nvPr/>
          </p:nvSpPr>
          <p:spPr bwMode="gray">
            <a:xfrm>
              <a:off x="443" y="1675"/>
              <a:ext cx="1053" cy="945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6E1E2">
                    <a:alpha val="37999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eaVert"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s-ES" altLang="es-US"/>
            </a:p>
          </p:txBody>
        </p:sp>
      </p:grpSp>
      <p:sp>
        <p:nvSpPr>
          <p:cNvPr id="55307" name="AutoShape 20"/>
          <p:cNvSpPr>
            <a:spLocks noChangeArrowheads="1"/>
          </p:cNvSpPr>
          <p:nvPr/>
        </p:nvSpPr>
        <p:spPr bwMode="gray">
          <a:xfrm>
            <a:off x="3352800" y="1828800"/>
            <a:ext cx="4748213" cy="4889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BEBEBE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08" name="Rectangle 21"/>
          <p:cNvSpPr>
            <a:spLocks noChangeArrowheads="1"/>
          </p:cNvSpPr>
          <p:nvPr/>
        </p:nvSpPr>
        <p:spPr bwMode="auto">
          <a:xfrm>
            <a:off x="3503613" y="1905000"/>
            <a:ext cx="2863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US" sz="2000">
                <a:solidFill>
                  <a:srgbClr val="000000"/>
                </a:solidFill>
              </a:rPr>
              <a:t>Preguntas generadoras</a:t>
            </a:r>
          </a:p>
        </p:txBody>
      </p:sp>
      <p:sp>
        <p:nvSpPr>
          <p:cNvPr id="55309" name="AutoShape 22"/>
          <p:cNvSpPr>
            <a:spLocks noChangeArrowheads="1"/>
          </p:cNvSpPr>
          <p:nvPr/>
        </p:nvSpPr>
        <p:spPr bwMode="gray">
          <a:xfrm>
            <a:off x="3314700" y="2578100"/>
            <a:ext cx="4748213" cy="4889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BEBEBE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10" name="Rectangle 23"/>
          <p:cNvSpPr>
            <a:spLocks noChangeArrowheads="1"/>
          </p:cNvSpPr>
          <p:nvPr/>
        </p:nvSpPr>
        <p:spPr bwMode="auto">
          <a:xfrm>
            <a:off x="3440113" y="2654300"/>
            <a:ext cx="29749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US" sz="2000">
                <a:solidFill>
                  <a:srgbClr val="000000"/>
                </a:solidFill>
              </a:rPr>
              <a:t> Origen de los mandatos</a:t>
            </a:r>
          </a:p>
        </p:txBody>
      </p:sp>
      <p:sp>
        <p:nvSpPr>
          <p:cNvPr id="55311" name="AutoShape 24"/>
          <p:cNvSpPr>
            <a:spLocks noChangeArrowheads="1"/>
          </p:cNvSpPr>
          <p:nvPr/>
        </p:nvSpPr>
        <p:spPr bwMode="gray">
          <a:xfrm>
            <a:off x="3349625" y="3321050"/>
            <a:ext cx="4751388" cy="4889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BEBEBE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12" name="Rectangle 25"/>
          <p:cNvSpPr>
            <a:spLocks noChangeArrowheads="1"/>
          </p:cNvSpPr>
          <p:nvPr/>
        </p:nvSpPr>
        <p:spPr bwMode="auto">
          <a:xfrm>
            <a:off x="3500438" y="3397250"/>
            <a:ext cx="38195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US" sz="2000">
                <a:solidFill>
                  <a:srgbClr val="000000"/>
                </a:solidFill>
              </a:rPr>
              <a:t>En el nuevo paradigma del SSA</a:t>
            </a:r>
          </a:p>
        </p:txBody>
      </p:sp>
      <p:sp>
        <p:nvSpPr>
          <p:cNvPr id="55313" name="Oval 26"/>
          <p:cNvSpPr>
            <a:spLocks noChangeArrowheads="1"/>
          </p:cNvSpPr>
          <p:nvPr/>
        </p:nvSpPr>
        <p:spPr bwMode="gray">
          <a:xfrm>
            <a:off x="3263900" y="1946275"/>
            <a:ext cx="228600" cy="228600"/>
          </a:xfrm>
          <a:prstGeom prst="ellipse">
            <a:avLst/>
          </a:prstGeom>
          <a:gradFill rotWithShape="1">
            <a:gsLst>
              <a:gs pos="0">
                <a:srgbClr val="E96E29"/>
              </a:gs>
              <a:gs pos="100000">
                <a:srgbClr val="9B491B"/>
              </a:gs>
            </a:gsLst>
            <a:path path="shape">
              <a:fillToRect l="50000" t="50000" r="50000" b="50000"/>
            </a:path>
          </a:gradFill>
          <a:ln w="19050">
            <a:solidFill>
              <a:srgbClr val="FFFFFF"/>
            </a:solidFill>
            <a:round/>
            <a:headEnd/>
            <a:tailEnd/>
          </a:ln>
          <a:effectLst>
            <a:outerShdw dist="63500" dir="2212194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14" name="Oval 27"/>
          <p:cNvSpPr>
            <a:spLocks noChangeArrowheads="1"/>
          </p:cNvSpPr>
          <p:nvPr/>
        </p:nvSpPr>
        <p:spPr bwMode="gray">
          <a:xfrm>
            <a:off x="3276600" y="2711450"/>
            <a:ext cx="228600" cy="228600"/>
          </a:xfrm>
          <a:prstGeom prst="ellipse">
            <a:avLst/>
          </a:prstGeom>
          <a:gradFill rotWithShape="1">
            <a:gsLst>
              <a:gs pos="0">
                <a:srgbClr val="DCDC48"/>
              </a:gs>
              <a:gs pos="100000">
                <a:srgbClr val="939330"/>
              </a:gs>
            </a:gsLst>
            <a:path path="shape">
              <a:fillToRect l="50000" t="50000" r="50000" b="50000"/>
            </a:path>
          </a:gradFill>
          <a:ln w="19050">
            <a:solidFill>
              <a:srgbClr val="FFFFFF"/>
            </a:solidFill>
            <a:round/>
            <a:headEnd/>
            <a:tailEnd/>
          </a:ln>
          <a:effectLst>
            <a:outerShdw dist="63500" dir="2212194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29" name="Oval 28"/>
          <p:cNvSpPr>
            <a:spLocks noChangeArrowheads="1"/>
          </p:cNvSpPr>
          <p:nvPr/>
        </p:nvSpPr>
        <p:spPr bwMode="gray">
          <a:xfrm>
            <a:off x="3276600" y="3467100"/>
            <a:ext cx="228600" cy="228600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66667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19050">
            <a:solidFill>
              <a:srgbClr val="FFFFFF"/>
            </a:solidFill>
            <a:round/>
            <a:headEnd/>
            <a:tailEnd/>
          </a:ln>
          <a:effectLst>
            <a:outerShdw dist="63500" dir="2212194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s-ES">
              <a:latin typeface="Arial" charset="0"/>
            </a:endParaRPr>
          </a:p>
        </p:txBody>
      </p:sp>
      <p:sp>
        <p:nvSpPr>
          <p:cNvPr id="55316" name="AutoShape 29"/>
          <p:cNvSpPr>
            <a:spLocks noChangeArrowheads="1"/>
          </p:cNvSpPr>
          <p:nvPr/>
        </p:nvSpPr>
        <p:spPr bwMode="gray">
          <a:xfrm>
            <a:off x="3352800" y="4052888"/>
            <a:ext cx="4748213" cy="4889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BEBEBE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17" name="Rectangle 30"/>
          <p:cNvSpPr>
            <a:spLocks noChangeArrowheads="1"/>
          </p:cNvSpPr>
          <p:nvPr/>
        </p:nvSpPr>
        <p:spPr bwMode="auto">
          <a:xfrm>
            <a:off x="3503613" y="4129088"/>
            <a:ext cx="37084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US" sz="2000">
                <a:solidFill>
                  <a:srgbClr val="000000"/>
                </a:solidFill>
              </a:rPr>
              <a:t>Institucionalización en el CAC</a:t>
            </a:r>
          </a:p>
        </p:txBody>
      </p:sp>
      <p:sp>
        <p:nvSpPr>
          <p:cNvPr id="55318" name="Oval 31"/>
          <p:cNvSpPr>
            <a:spLocks noChangeArrowheads="1"/>
          </p:cNvSpPr>
          <p:nvPr/>
        </p:nvSpPr>
        <p:spPr bwMode="gray">
          <a:xfrm>
            <a:off x="3263900" y="4191000"/>
            <a:ext cx="228600" cy="228600"/>
          </a:xfrm>
          <a:prstGeom prst="ellipse">
            <a:avLst/>
          </a:prstGeom>
          <a:gradFill rotWithShape="1">
            <a:gsLst>
              <a:gs pos="0">
                <a:srgbClr val="E96E29"/>
              </a:gs>
              <a:gs pos="100000">
                <a:srgbClr val="9B491B"/>
              </a:gs>
            </a:gsLst>
            <a:path path="shape">
              <a:fillToRect l="50000" t="50000" r="50000" b="50000"/>
            </a:path>
          </a:gradFill>
          <a:ln w="19050">
            <a:solidFill>
              <a:srgbClr val="FFFFFF"/>
            </a:solidFill>
            <a:round/>
            <a:headEnd/>
            <a:tailEnd/>
          </a:ln>
          <a:effectLst>
            <a:outerShdw dist="63500" dir="2212194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19" name="AutoShape 32"/>
          <p:cNvSpPr>
            <a:spLocks noChangeArrowheads="1"/>
          </p:cNvSpPr>
          <p:nvPr/>
        </p:nvSpPr>
        <p:spPr bwMode="gray">
          <a:xfrm>
            <a:off x="3352800" y="4841875"/>
            <a:ext cx="4748213" cy="48895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F8F8F8"/>
              </a:gs>
              <a:gs pos="100000">
                <a:srgbClr val="BEBEBE"/>
              </a:gs>
            </a:gsLst>
            <a:lin ang="5400000" scaled="1"/>
          </a:gradFill>
          <a:ln w="19050">
            <a:solidFill>
              <a:srgbClr val="C0C0C0"/>
            </a:solidFill>
            <a:round/>
            <a:headEnd/>
            <a:tailEnd/>
          </a:ln>
          <a:effectLst>
            <a:outerShdw dist="53882" dir="2700000" algn="ctr" rotWithShape="0">
              <a:srgbClr val="292929">
                <a:alpha val="50000"/>
              </a:srgb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sp>
        <p:nvSpPr>
          <p:cNvPr id="55320" name="Rectangle 33"/>
          <p:cNvSpPr>
            <a:spLocks noChangeArrowheads="1"/>
          </p:cNvSpPr>
          <p:nvPr/>
        </p:nvSpPr>
        <p:spPr bwMode="auto">
          <a:xfrm>
            <a:off x="3503613" y="4918075"/>
            <a:ext cx="29098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s-US" sz="2000">
                <a:solidFill>
                  <a:srgbClr val="000000"/>
                </a:solidFill>
              </a:rPr>
              <a:t>Consideraciones finales</a:t>
            </a:r>
          </a:p>
        </p:txBody>
      </p:sp>
      <p:sp>
        <p:nvSpPr>
          <p:cNvPr id="55321" name="Oval 34"/>
          <p:cNvSpPr>
            <a:spLocks noChangeArrowheads="1"/>
          </p:cNvSpPr>
          <p:nvPr/>
        </p:nvSpPr>
        <p:spPr bwMode="gray">
          <a:xfrm>
            <a:off x="3276600" y="4975225"/>
            <a:ext cx="228600" cy="228600"/>
          </a:xfrm>
          <a:prstGeom prst="ellipse">
            <a:avLst/>
          </a:prstGeom>
          <a:gradFill rotWithShape="1">
            <a:gsLst>
              <a:gs pos="0">
                <a:srgbClr val="DCDC48"/>
              </a:gs>
              <a:gs pos="100000">
                <a:srgbClr val="939330"/>
              </a:gs>
            </a:gsLst>
            <a:path path="shape">
              <a:fillToRect l="50000" t="50000" r="50000" b="50000"/>
            </a:path>
          </a:gradFill>
          <a:ln w="19050">
            <a:solidFill>
              <a:srgbClr val="FFFFFF"/>
            </a:solidFill>
            <a:round/>
            <a:headEnd/>
            <a:tailEnd/>
          </a:ln>
          <a:effectLst>
            <a:outerShdw dist="63500" dir="2212194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s-ES" altLang="es-US"/>
          </a:p>
        </p:txBody>
      </p:sp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3" y="2451100"/>
            <a:ext cx="2535237" cy="322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36 Imagen" descr="san mateo ixta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013" y="2425700"/>
            <a:ext cx="2249487" cy="431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63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2498725"/>
            <a:ext cx="2286000" cy="209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>
          <a:xfrm>
            <a:off x="457200" y="571500"/>
            <a:ext cx="8229600" cy="846138"/>
          </a:xfrm>
        </p:spPr>
        <p:txBody>
          <a:bodyPr/>
          <a:lstStyle/>
          <a:p>
            <a:r>
              <a:rPr lang="es-CR" altLang="es-US" sz="4000" smtClean="0"/>
              <a:t>PREGUNTAS GENERADOR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s-CR" dirty="0" smtClean="0"/>
              <a:t>1. ¿Cómo se relacionan la gestión de riesgo, la restauración y la adaptación? 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endParaRPr lang="es-CR" dirty="0" smtClean="0"/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s-CR" dirty="0" smtClean="0"/>
              <a:t>2. ¿Qué experiencias y lecciones hay para amarrar estos abordajes en la gestión territorial?</a:t>
            </a:r>
          </a:p>
          <a:p>
            <a:pPr>
              <a:defRPr/>
            </a:pPr>
            <a:endParaRPr lang="es-CR" dirty="0"/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EC445620-B6A3-4579-A7FC-73F1C5072EB6}" type="slidenum">
              <a:rPr lang="en-US" altLang="es-US">
                <a:solidFill>
                  <a:schemeClr val="bg1"/>
                </a:solidFill>
                <a:latin typeface="Times New Roman" panose="02020603050405020304" pitchFamily="18" charset="0"/>
              </a:rPr>
              <a:pPr eaLnBrk="1" hangingPunct="1"/>
              <a:t>3</a:t>
            </a:fld>
            <a:endParaRPr lang="en-US" altLang="es-US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Rectangle 30"/>
          <p:cNvGrpSpPr>
            <a:grpSpLocks/>
          </p:cNvGrpSpPr>
          <p:nvPr/>
        </p:nvGrpSpPr>
        <p:grpSpPr bwMode="auto">
          <a:xfrm>
            <a:off x="-6350" y="4243388"/>
            <a:ext cx="9144000" cy="1846262"/>
            <a:chOff x="-4" y="2673"/>
            <a:chExt cx="5760" cy="1163"/>
          </a:xfrm>
        </p:grpSpPr>
        <p:pic>
          <p:nvPicPr>
            <p:cNvPr id="57346" name="Rectangle 30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" y="2673"/>
              <a:ext cx="5760" cy="1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47" name="Text Box 3"/>
            <p:cNvSpPr txBox="1">
              <a:spLocks noChangeArrowheads="1"/>
            </p:cNvSpPr>
            <p:nvPr/>
          </p:nvSpPr>
          <p:spPr bwMode="auto">
            <a:xfrm>
              <a:off x="-2" y="2674"/>
              <a:ext cx="5760" cy="1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endParaRPr lang="es-US" altLang="es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57349" name="Group 8"/>
          <p:cNvGrpSpPr>
            <a:grpSpLocks/>
          </p:cNvGrpSpPr>
          <p:nvPr/>
        </p:nvGrpSpPr>
        <p:grpSpPr bwMode="auto">
          <a:xfrm>
            <a:off x="3278188" y="1435100"/>
            <a:ext cx="2425700" cy="3163888"/>
            <a:chOff x="944562" y="687387"/>
            <a:chExt cx="2451101" cy="3228975"/>
          </a:xfrm>
        </p:grpSpPr>
        <p:sp>
          <p:nvSpPr>
            <p:cNvPr id="6" name="Freeform 44"/>
            <p:cNvSpPr>
              <a:spLocks/>
            </p:cNvSpPr>
            <p:nvPr/>
          </p:nvSpPr>
          <p:spPr bwMode="auto">
            <a:xfrm>
              <a:off x="986269" y="721411"/>
              <a:ext cx="2367687" cy="469846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93000">
                  <a:schemeClr val="bg1">
                    <a:lumMod val="95000"/>
                  </a:schemeClr>
                </a:gs>
              </a:gsLst>
              <a:lin ang="3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auto">
            <a:xfrm>
              <a:off x="944562" y="969294"/>
              <a:ext cx="503695" cy="2947068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45000">
                  <a:schemeClr val="bg1">
                    <a:lumMod val="75000"/>
                  </a:schemeClr>
                </a:gs>
                <a:gs pos="92000">
                  <a:schemeClr val="tx1">
                    <a:lumMod val="75000"/>
                    <a:lumOff val="25000"/>
                  </a:schemeClr>
                </a:gs>
              </a:gsLst>
              <a:lin ang="0" scaled="1"/>
            </a:gradFill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auto">
            <a:xfrm>
              <a:off x="1448257" y="838062"/>
              <a:ext cx="1947406" cy="3070199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8000">
                  <a:schemeClr val="tx1">
                    <a:lumMod val="75000"/>
                    <a:lumOff val="25000"/>
                  </a:schemeClr>
                </a:gs>
                <a:gs pos="55000">
                  <a:schemeClr val="bg1">
                    <a:lumMod val="8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9200000"/>
            </a:gradFill>
            <a:ln w="9525">
              <a:solidFill>
                <a:schemeClr val="tx1">
                  <a:lumMod val="85000"/>
                  <a:lumOff val="1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9" name="Freeform 12"/>
            <p:cNvSpPr>
              <a:spLocks/>
            </p:cNvSpPr>
            <p:nvPr/>
          </p:nvSpPr>
          <p:spPr bwMode="auto">
            <a:xfrm>
              <a:off x="944562" y="687387"/>
              <a:ext cx="2067715" cy="319172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0">
              <a:gsLst>
                <a:gs pos="0">
                  <a:schemeClr val="tx1">
                    <a:lumMod val="75000"/>
                    <a:lumOff val="25000"/>
                  </a:schemeClr>
                </a:gs>
                <a:gs pos="46000">
                  <a:schemeClr val="bg1">
                    <a:lumMod val="75000"/>
                  </a:schemeClr>
                </a:gs>
                <a:gs pos="92000">
                  <a:schemeClr val="tx1">
                    <a:lumMod val="75000"/>
                    <a:lumOff val="25000"/>
                  </a:schemeClr>
                </a:gs>
              </a:gsLst>
              <a:lin ang="0" scaled="1"/>
            </a:gradFill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pic>
          <p:nvPicPr>
            <p:cNvPr id="57391" name="Picture 1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4025" y="700087"/>
              <a:ext cx="365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350" name="Group 8"/>
          <p:cNvGrpSpPr>
            <a:grpSpLocks/>
          </p:cNvGrpSpPr>
          <p:nvPr/>
        </p:nvGrpSpPr>
        <p:grpSpPr bwMode="auto">
          <a:xfrm>
            <a:off x="3627438" y="1576388"/>
            <a:ext cx="2509837" cy="3271837"/>
            <a:chOff x="944562" y="687387"/>
            <a:chExt cx="2451101" cy="3228975"/>
          </a:xfrm>
        </p:grpSpPr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986421" y="720287"/>
              <a:ext cx="2367383" cy="470011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93000">
                  <a:schemeClr val="bg1">
                    <a:lumMod val="95000"/>
                  </a:schemeClr>
                </a:gs>
              </a:gsLst>
              <a:lin ang="3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57383" name="Freeform 10"/>
            <p:cNvSpPr>
              <a:spLocks/>
            </p:cNvSpPr>
            <p:nvPr/>
          </p:nvSpPr>
          <p:spPr bwMode="auto">
            <a:xfrm>
              <a:off x="944562" y="969962"/>
              <a:ext cx="503238" cy="2946400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2A6F0C"/>
                </a:gs>
                <a:gs pos="45000">
                  <a:srgbClr val="77D729"/>
                </a:gs>
                <a:gs pos="92000">
                  <a:srgbClr val="2A6F0C"/>
                </a:gs>
                <a:gs pos="100000">
                  <a:srgbClr val="2A6F0C"/>
                </a:gs>
              </a:gsLst>
              <a:lin ang="0" scaled="1"/>
            </a:gradFill>
            <a:ln w="9525">
              <a:solidFill>
                <a:srgbClr val="2A6F0C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84" name="Freeform 11"/>
            <p:cNvSpPr>
              <a:spLocks/>
            </p:cNvSpPr>
            <p:nvPr/>
          </p:nvSpPr>
          <p:spPr bwMode="auto">
            <a:xfrm>
              <a:off x="1447800" y="838200"/>
              <a:ext cx="1947863" cy="3070225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rotWithShape="1">
              <a:gsLst>
                <a:gs pos="0">
                  <a:srgbClr val="2A6F0C"/>
                </a:gs>
                <a:gs pos="7001">
                  <a:srgbClr val="2A6F0C"/>
                </a:gs>
                <a:gs pos="55000">
                  <a:srgbClr val="77D729"/>
                </a:gs>
                <a:gs pos="100000">
                  <a:srgbClr val="2A6F0C"/>
                </a:gs>
              </a:gsLst>
              <a:lin ang="19200000"/>
            </a:gradFill>
            <a:ln w="9525">
              <a:solidFill>
                <a:srgbClr val="2A6F0C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85" name="Freeform 12"/>
            <p:cNvSpPr>
              <a:spLocks/>
            </p:cNvSpPr>
            <p:nvPr/>
          </p:nvSpPr>
          <p:spPr bwMode="auto">
            <a:xfrm>
              <a:off x="944562" y="687387"/>
              <a:ext cx="2066925" cy="319088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0">
              <a:gsLst>
                <a:gs pos="0">
                  <a:srgbClr val="2A6F0C"/>
                </a:gs>
                <a:gs pos="45000">
                  <a:srgbClr val="77D729"/>
                </a:gs>
                <a:gs pos="92000">
                  <a:srgbClr val="2A6F0C"/>
                </a:gs>
                <a:gs pos="100000">
                  <a:srgbClr val="2A6F0C"/>
                </a:gs>
              </a:gsLst>
              <a:lin ang="0" scaled="1"/>
            </a:gradFill>
            <a:ln w="9525">
              <a:solidFill>
                <a:srgbClr val="2A6F0C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pic>
          <p:nvPicPr>
            <p:cNvPr id="57386" name="Picture 1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4025" y="700087"/>
              <a:ext cx="365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351" name="Group 14"/>
          <p:cNvGrpSpPr>
            <a:grpSpLocks/>
          </p:cNvGrpSpPr>
          <p:nvPr/>
        </p:nvGrpSpPr>
        <p:grpSpPr bwMode="auto">
          <a:xfrm>
            <a:off x="4029075" y="1701800"/>
            <a:ext cx="2578100" cy="3360738"/>
            <a:chOff x="944562" y="687387"/>
            <a:chExt cx="2451101" cy="3228975"/>
          </a:xfrm>
        </p:grpSpPr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985314" y="720943"/>
              <a:ext cx="2369599" cy="469780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93000">
                  <a:schemeClr val="bg1">
                    <a:lumMod val="95000"/>
                  </a:schemeClr>
                </a:gs>
              </a:gsLst>
              <a:lin ang="3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57378" name="Freeform 10"/>
            <p:cNvSpPr>
              <a:spLocks/>
            </p:cNvSpPr>
            <p:nvPr/>
          </p:nvSpPr>
          <p:spPr bwMode="auto">
            <a:xfrm>
              <a:off x="944562" y="969962"/>
              <a:ext cx="503238" cy="2946400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FF6600"/>
                </a:gs>
                <a:gs pos="45000">
                  <a:srgbClr val="FFFF00"/>
                </a:gs>
                <a:gs pos="92999">
                  <a:srgbClr val="FFC000"/>
                </a:gs>
                <a:gs pos="100000">
                  <a:srgbClr val="FFC000"/>
                </a:gs>
              </a:gsLst>
              <a:lin ang="21540000"/>
            </a:gradFill>
            <a:ln w="9525">
              <a:solidFill>
                <a:srgbClr val="D09E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79" name="Freeform 11"/>
            <p:cNvSpPr>
              <a:spLocks/>
            </p:cNvSpPr>
            <p:nvPr/>
          </p:nvSpPr>
          <p:spPr bwMode="auto">
            <a:xfrm>
              <a:off x="1447800" y="838200"/>
              <a:ext cx="1947863" cy="3070225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rotWithShape="1">
              <a:gsLst>
                <a:gs pos="0">
                  <a:srgbClr val="D09E00"/>
                </a:gs>
                <a:gs pos="7001">
                  <a:srgbClr val="D09E00"/>
                </a:gs>
                <a:gs pos="55000">
                  <a:srgbClr val="FFFF00"/>
                </a:gs>
                <a:gs pos="100000">
                  <a:srgbClr val="FFC000"/>
                </a:gs>
              </a:gsLst>
              <a:lin ang="19200000"/>
            </a:gradFill>
            <a:ln w="9525">
              <a:solidFill>
                <a:srgbClr val="D09E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80" name="Freeform 12"/>
            <p:cNvSpPr>
              <a:spLocks/>
            </p:cNvSpPr>
            <p:nvPr/>
          </p:nvSpPr>
          <p:spPr bwMode="auto">
            <a:xfrm>
              <a:off x="944562" y="687387"/>
              <a:ext cx="2066925" cy="319088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1">
              <a:gsLst>
                <a:gs pos="0">
                  <a:srgbClr val="D09E00"/>
                </a:gs>
                <a:gs pos="7001">
                  <a:srgbClr val="D09E00"/>
                </a:gs>
                <a:gs pos="55000">
                  <a:srgbClr val="FFFF00"/>
                </a:gs>
                <a:gs pos="100000">
                  <a:srgbClr val="FFC000"/>
                </a:gs>
              </a:gsLst>
              <a:lin ang="19200000"/>
            </a:gradFill>
            <a:ln w="9525">
              <a:solidFill>
                <a:srgbClr val="D09E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pic>
          <p:nvPicPr>
            <p:cNvPr id="57381" name="Picture 1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4025" y="700087"/>
              <a:ext cx="365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352" name="Group 14"/>
          <p:cNvGrpSpPr>
            <a:grpSpLocks/>
          </p:cNvGrpSpPr>
          <p:nvPr/>
        </p:nvGrpSpPr>
        <p:grpSpPr bwMode="auto">
          <a:xfrm>
            <a:off x="4514850" y="1816100"/>
            <a:ext cx="2693988" cy="3548063"/>
            <a:chOff x="944562" y="687387"/>
            <a:chExt cx="2451101" cy="3228975"/>
          </a:xfrm>
        </p:grpSpPr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986449" y="720616"/>
              <a:ext cx="2367326" cy="469537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93000">
                  <a:schemeClr val="bg1">
                    <a:lumMod val="95000"/>
                  </a:schemeClr>
                </a:gs>
              </a:gsLst>
              <a:lin ang="3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57373" name="Freeform 10"/>
            <p:cNvSpPr>
              <a:spLocks/>
            </p:cNvSpPr>
            <p:nvPr/>
          </p:nvSpPr>
          <p:spPr bwMode="auto">
            <a:xfrm>
              <a:off x="944562" y="969962"/>
              <a:ext cx="503238" cy="2946400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6D68"/>
                </a:gs>
                <a:gs pos="45000">
                  <a:srgbClr val="00F0E8"/>
                </a:gs>
                <a:gs pos="92000">
                  <a:srgbClr val="006D68"/>
                </a:gs>
                <a:gs pos="100000">
                  <a:srgbClr val="006D68"/>
                </a:gs>
              </a:gsLst>
              <a:lin ang="21540000"/>
            </a:gradFill>
            <a:ln w="9525">
              <a:solidFill>
                <a:srgbClr val="006D68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74" name="Freeform 11"/>
            <p:cNvSpPr>
              <a:spLocks/>
            </p:cNvSpPr>
            <p:nvPr/>
          </p:nvSpPr>
          <p:spPr bwMode="auto">
            <a:xfrm>
              <a:off x="1447800" y="838200"/>
              <a:ext cx="1947863" cy="3070225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rotWithShape="1">
              <a:gsLst>
                <a:gs pos="0">
                  <a:srgbClr val="006D68"/>
                </a:gs>
                <a:gs pos="7001">
                  <a:srgbClr val="006D68"/>
                </a:gs>
                <a:gs pos="55000">
                  <a:srgbClr val="00F0E8"/>
                </a:gs>
                <a:gs pos="100000">
                  <a:srgbClr val="006D68"/>
                </a:gs>
              </a:gsLst>
              <a:lin ang="19200000"/>
            </a:gradFill>
            <a:ln w="9525">
              <a:solidFill>
                <a:srgbClr val="006D68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75" name="Freeform 12"/>
            <p:cNvSpPr>
              <a:spLocks/>
            </p:cNvSpPr>
            <p:nvPr/>
          </p:nvSpPr>
          <p:spPr bwMode="auto">
            <a:xfrm>
              <a:off x="944562" y="687387"/>
              <a:ext cx="2066925" cy="319088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1">
              <a:gsLst>
                <a:gs pos="0">
                  <a:srgbClr val="006D68"/>
                </a:gs>
                <a:gs pos="7001">
                  <a:srgbClr val="006D68"/>
                </a:gs>
                <a:gs pos="55000">
                  <a:srgbClr val="00F0E8"/>
                </a:gs>
                <a:gs pos="100000">
                  <a:srgbClr val="006D68"/>
                </a:gs>
              </a:gsLst>
              <a:lin ang="19200000"/>
            </a:gradFill>
            <a:ln w="9525">
              <a:solidFill>
                <a:srgbClr val="006D68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pic>
          <p:nvPicPr>
            <p:cNvPr id="57376" name="Picture 1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4025" y="700087"/>
              <a:ext cx="365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353" name="Group 14"/>
          <p:cNvGrpSpPr>
            <a:grpSpLocks/>
          </p:cNvGrpSpPr>
          <p:nvPr/>
        </p:nvGrpSpPr>
        <p:grpSpPr bwMode="auto">
          <a:xfrm>
            <a:off x="4994275" y="1968500"/>
            <a:ext cx="2803525" cy="3692525"/>
            <a:chOff x="944562" y="687387"/>
            <a:chExt cx="2451101" cy="3228975"/>
          </a:xfrm>
        </p:grpSpPr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986200" y="720704"/>
              <a:ext cx="2367825" cy="470603"/>
            </a:xfrm>
            <a:custGeom>
              <a:avLst/>
              <a:gdLst/>
              <a:ahLst/>
              <a:cxnLst>
                <a:cxn ang="0">
                  <a:pos x="1492" y="77"/>
                </a:cxn>
                <a:cxn ang="0">
                  <a:pos x="1276" y="0"/>
                </a:cxn>
                <a:cxn ang="0">
                  <a:pos x="0" y="180"/>
                </a:cxn>
                <a:cxn ang="0">
                  <a:pos x="129" y="296"/>
                </a:cxn>
                <a:cxn ang="0">
                  <a:pos x="1492" y="77"/>
                </a:cxn>
              </a:cxnLst>
              <a:rect l="0" t="0" r="r" b="b"/>
              <a:pathLst>
                <a:path w="1492" h="296">
                  <a:moveTo>
                    <a:pt x="1492" y="77"/>
                  </a:moveTo>
                  <a:lnTo>
                    <a:pt x="1276" y="0"/>
                  </a:lnTo>
                  <a:lnTo>
                    <a:pt x="0" y="180"/>
                  </a:lnTo>
                  <a:lnTo>
                    <a:pt x="129" y="296"/>
                  </a:lnTo>
                  <a:lnTo>
                    <a:pt x="1492" y="77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85000"/>
                  </a:schemeClr>
                </a:gs>
                <a:gs pos="93000">
                  <a:schemeClr val="bg1">
                    <a:lumMod val="95000"/>
                  </a:schemeClr>
                </a:gs>
              </a:gsLst>
              <a:lin ang="30000" scaled="0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endParaRPr>
            </a:p>
          </p:txBody>
        </p:sp>
        <p:sp>
          <p:nvSpPr>
            <p:cNvPr id="57368" name="Freeform 10"/>
            <p:cNvSpPr>
              <a:spLocks/>
            </p:cNvSpPr>
            <p:nvPr/>
          </p:nvSpPr>
          <p:spPr bwMode="auto">
            <a:xfrm>
              <a:off x="944562" y="969962"/>
              <a:ext cx="503238" cy="2946400"/>
            </a:xfrm>
            <a:custGeom>
              <a:avLst/>
              <a:gdLst>
                <a:gd name="T0" fmla="*/ 0 w 317"/>
                <a:gd name="T1" fmla="*/ 0 h 1856"/>
                <a:gd name="T2" fmla="*/ 0 w 317"/>
                <a:gd name="T3" fmla="*/ 2147483647 h 1856"/>
                <a:gd name="T4" fmla="*/ 0 w 317"/>
                <a:gd name="T5" fmla="*/ 2147483647 h 1856"/>
                <a:gd name="T6" fmla="*/ 2147483647 w 317"/>
                <a:gd name="T7" fmla="*/ 2147483647 h 1856"/>
                <a:gd name="T8" fmla="*/ 2147483647 w 317"/>
                <a:gd name="T9" fmla="*/ 2147483647 h 1856"/>
                <a:gd name="T10" fmla="*/ 2147483647 w 317"/>
                <a:gd name="T11" fmla="*/ 2147483647 h 1856"/>
                <a:gd name="T12" fmla="*/ 2147483647 w 317"/>
                <a:gd name="T13" fmla="*/ 2147483647 h 1856"/>
                <a:gd name="T14" fmla="*/ 2147483647 w 317"/>
                <a:gd name="T15" fmla="*/ 2147483647 h 1856"/>
                <a:gd name="T16" fmla="*/ 2147483647 w 317"/>
                <a:gd name="T17" fmla="*/ 2147483647 h 1856"/>
                <a:gd name="T18" fmla="*/ 2147483647 w 317"/>
                <a:gd name="T19" fmla="*/ 2147483647 h 1856"/>
                <a:gd name="T20" fmla="*/ 2147483647 w 317"/>
                <a:gd name="T21" fmla="*/ 2147483647 h 1856"/>
                <a:gd name="T22" fmla="*/ 2147483647 w 317"/>
                <a:gd name="T23" fmla="*/ 2147483647 h 1856"/>
                <a:gd name="T24" fmla="*/ 2147483647 w 317"/>
                <a:gd name="T25" fmla="*/ 2147483647 h 1856"/>
                <a:gd name="T26" fmla="*/ 2147483647 w 317"/>
                <a:gd name="T27" fmla="*/ 2147483647 h 1856"/>
                <a:gd name="T28" fmla="*/ 2147483647 w 317"/>
                <a:gd name="T29" fmla="*/ 2147483647 h 1856"/>
                <a:gd name="T30" fmla="*/ 2147483647 w 317"/>
                <a:gd name="T31" fmla="*/ 2147483647 h 1856"/>
                <a:gd name="T32" fmla="*/ 2147483647 w 317"/>
                <a:gd name="T33" fmla="*/ 2147483647 h 1856"/>
                <a:gd name="T34" fmla="*/ 2147483647 w 317"/>
                <a:gd name="T35" fmla="*/ 2147483647 h 1856"/>
                <a:gd name="T36" fmla="*/ 2147483647 w 317"/>
                <a:gd name="T37" fmla="*/ 2147483647 h 1856"/>
                <a:gd name="T38" fmla="*/ 2147483647 w 317"/>
                <a:gd name="T39" fmla="*/ 2147483647 h 1856"/>
                <a:gd name="T40" fmla="*/ 2147483647 w 317"/>
                <a:gd name="T41" fmla="*/ 2147483647 h 1856"/>
                <a:gd name="T42" fmla="*/ 2147483647 w 317"/>
                <a:gd name="T43" fmla="*/ 2147483647 h 1856"/>
                <a:gd name="T44" fmla="*/ 2147483647 w 317"/>
                <a:gd name="T45" fmla="*/ 2147483647 h 1856"/>
                <a:gd name="T46" fmla="*/ 2147483647 w 317"/>
                <a:gd name="T47" fmla="*/ 2147483647 h 1856"/>
                <a:gd name="T48" fmla="*/ 2147483647 w 317"/>
                <a:gd name="T49" fmla="*/ 2147483647 h 1856"/>
                <a:gd name="T50" fmla="*/ 2147483647 w 317"/>
                <a:gd name="T51" fmla="*/ 2147483647 h 1856"/>
                <a:gd name="T52" fmla="*/ 2147483647 w 317"/>
                <a:gd name="T53" fmla="*/ 2147483647 h 1856"/>
                <a:gd name="T54" fmla="*/ 2147483647 w 317"/>
                <a:gd name="T55" fmla="*/ 2147483647 h 1856"/>
                <a:gd name="T56" fmla="*/ 0 w 317"/>
                <a:gd name="T57" fmla="*/ 0 h 1856"/>
                <a:gd name="T58" fmla="*/ 0 w 317"/>
                <a:gd name="T59" fmla="*/ 0 h 18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7"/>
                <a:gd name="T91" fmla="*/ 0 h 1856"/>
                <a:gd name="T92" fmla="*/ 317 w 317"/>
                <a:gd name="T93" fmla="*/ 1856 h 18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7" h="1856">
                  <a:moveTo>
                    <a:pt x="0" y="0"/>
                  </a:moveTo>
                  <a:lnTo>
                    <a:pt x="0" y="1722"/>
                  </a:lnTo>
                  <a:lnTo>
                    <a:pt x="3" y="1730"/>
                  </a:lnTo>
                  <a:lnTo>
                    <a:pt x="10" y="1748"/>
                  </a:lnTo>
                  <a:lnTo>
                    <a:pt x="26" y="1771"/>
                  </a:lnTo>
                  <a:lnTo>
                    <a:pt x="39" y="1786"/>
                  </a:lnTo>
                  <a:lnTo>
                    <a:pt x="54" y="1799"/>
                  </a:lnTo>
                  <a:lnTo>
                    <a:pt x="72" y="1812"/>
                  </a:lnTo>
                  <a:lnTo>
                    <a:pt x="93" y="1825"/>
                  </a:lnTo>
                  <a:lnTo>
                    <a:pt x="119" y="1835"/>
                  </a:lnTo>
                  <a:lnTo>
                    <a:pt x="149" y="1846"/>
                  </a:lnTo>
                  <a:lnTo>
                    <a:pt x="183" y="1851"/>
                  </a:lnTo>
                  <a:lnTo>
                    <a:pt x="224" y="1856"/>
                  </a:lnTo>
                  <a:lnTo>
                    <a:pt x="268" y="1853"/>
                  </a:lnTo>
                  <a:lnTo>
                    <a:pt x="317" y="1851"/>
                  </a:lnTo>
                  <a:lnTo>
                    <a:pt x="317" y="82"/>
                  </a:lnTo>
                  <a:lnTo>
                    <a:pt x="289" y="88"/>
                  </a:lnTo>
                  <a:lnTo>
                    <a:pt x="255" y="93"/>
                  </a:lnTo>
                  <a:lnTo>
                    <a:pt x="214" y="93"/>
                  </a:lnTo>
                  <a:lnTo>
                    <a:pt x="188" y="90"/>
                  </a:lnTo>
                  <a:lnTo>
                    <a:pt x="165" y="88"/>
                  </a:lnTo>
                  <a:lnTo>
                    <a:pt x="137" y="80"/>
                  </a:lnTo>
                  <a:lnTo>
                    <a:pt x="111" y="72"/>
                  </a:lnTo>
                  <a:lnTo>
                    <a:pt x="82" y="59"/>
                  </a:lnTo>
                  <a:lnTo>
                    <a:pt x="57" y="44"/>
                  </a:lnTo>
                  <a:lnTo>
                    <a:pt x="28" y="23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800000"/>
                </a:gs>
                <a:gs pos="45000">
                  <a:srgbClr val="FF6132"/>
                </a:gs>
                <a:gs pos="92000">
                  <a:srgbClr val="800000"/>
                </a:gs>
                <a:gs pos="100000">
                  <a:srgbClr val="800000"/>
                </a:gs>
              </a:gsLst>
              <a:lin ang="21540000"/>
            </a:gra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69" name="Freeform 11"/>
            <p:cNvSpPr>
              <a:spLocks/>
            </p:cNvSpPr>
            <p:nvPr/>
          </p:nvSpPr>
          <p:spPr bwMode="auto">
            <a:xfrm>
              <a:off x="1447800" y="838200"/>
              <a:ext cx="1947863" cy="3070225"/>
            </a:xfrm>
            <a:custGeom>
              <a:avLst/>
              <a:gdLst>
                <a:gd name="T0" fmla="*/ 0 w 1227"/>
                <a:gd name="T1" fmla="*/ 2147483647 h 1934"/>
                <a:gd name="T2" fmla="*/ 2147483647 w 1227"/>
                <a:gd name="T3" fmla="*/ 0 h 1934"/>
                <a:gd name="T4" fmla="*/ 2147483647 w 1227"/>
                <a:gd name="T5" fmla="*/ 2147483647 h 1934"/>
                <a:gd name="T6" fmla="*/ 0 w 1227"/>
                <a:gd name="T7" fmla="*/ 2147483647 h 1934"/>
                <a:gd name="T8" fmla="*/ 0 w 1227"/>
                <a:gd name="T9" fmla="*/ 2147483647 h 19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7"/>
                <a:gd name="T16" fmla="*/ 0 h 1934"/>
                <a:gd name="T17" fmla="*/ 1227 w 1227"/>
                <a:gd name="T18" fmla="*/ 1934 h 19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7" h="1934">
                  <a:moveTo>
                    <a:pt x="0" y="165"/>
                  </a:moveTo>
                  <a:lnTo>
                    <a:pt x="1227" y="0"/>
                  </a:lnTo>
                  <a:lnTo>
                    <a:pt x="1227" y="1686"/>
                  </a:lnTo>
                  <a:lnTo>
                    <a:pt x="0" y="1934"/>
                  </a:lnTo>
                  <a:lnTo>
                    <a:pt x="0" y="165"/>
                  </a:lnTo>
                  <a:close/>
                </a:path>
              </a:pathLst>
            </a:custGeom>
            <a:gradFill rotWithShape="1">
              <a:gsLst>
                <a:gs pos="0">
                  <a:srgbClr val="800000"/>
                </a:gs>
                <a:gs pos="7001">
                  <a:srgbClr val="800000"/>
                </a:gs>
                <a:gs pos="55000">
                  <a:srgbClr val="FF6132"/>
                </a:gs>
                <a:gs pos="100000">
                  <a:srgbClr val="800000"/>
                </a:gs>
              </a:gsLst>
              <a:lin ang="19200000"/>
            </a:gra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sp>
          <p:nvSpPr>
            <p:cNvPr id="57370" name="Freeform 12"/>
            <p:cNvSpPr>
              <a:spLocks/>
            </p:cNvSpPr>
            <p:nvPr/>
          </p:nvSpPr>
          <p:spPr bwMode="auto">
            <a:xfrm>
              <a:off x="944562" y="687387"/>
              <a:ext cx="2066925" cy="319088"/>
            </a:xfrm>
            <a:custGeom>
              <a:avLst/>
              <a:gdLst>
                <a:gd name="T0" fmla="*/ 0 w 1302"/>
                <a:gd name="T1" fmla="*/ 2147483647 h 201"/>
                <a:gd name="T2" fmla="*/ 2147483647 w 1302"/>
                <a:gd name="T3" fmla="*/ 0 h 201"/>
                <a:gd name="T4" fmla="*/ 2147483647 w 1302"/>
                <a:gd name="T5" fmla="*/ 2147483647 h 201"/>
                <a:gd name="T6" fmla="*/ 2147483647 w 1302"/>
                <a:gd name="T7" fmla="*/ 2147483647 h 201"/>
                <a:gd name="T8" fmla="*/ 0 w 1302"/>
                <a:gd name="T9" fmla="*/ 2147483647 h 2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2"/>
                <a:gd name="T16" fmla="*/ 0 h 201"/>
                <a:gd name="T17" fmla="*/ 1302 w 1302"/>
                <a:gd name="T18" fmla="*/ 201 h 2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2" h="201">
                  <a:moveTo>
                    <a:pt x="0" y="178"/>
                  </a:moveTo>
                  <a:lnTo>
                    <a:pt x="1302" y="0"/>
                  </a:lnTo>
                  <a:lnTo>
                    <a:pt x="1302" y="21"/>
                  </a:lnTo>
                  <a:lnTo>
                    <a:pt x="26" y="201"/>
                  </a:lnTo>
                  <a:lnTo>
                    <a:pt x="0" y="178"/>
                  </a:lnTo>
                  <a:close/>
                </a:path>
              </a:pathLst>
            </a:custGeom>
            <a:gradFill rotWithShape="1">
              <a:gsLst>
                <a:gs pos="0">
                  <a:srgbClr val="800000"/>
                </a:gs>
                <a:gs pos="7001">
                  <a:srgbClr val="800000"/>
                </a:gs>
                <a:gs pos="55000">
                  <a:srgbClr val="FF6132"/>
                </a:gs>
                <a:gs pos="100000">
                  <a:srgbClr val="800000"/>
                </a:gs>
              </a:gsLst>
              <a:lin ang="19200000"/>
            </a:gradFill>
            <a:ln w="9525">
              <a:solidFill>
                <a:srgbClr val="006D68"/>
              </a:solidFill>
              <a:round/>
              <a:headEnd/>
              <a:tailEnd/>
            </a:ln>
          </p:spPr>
          <p:txBody>
            <a:bodyPr/>
            <a:lstStyle/>
            <a:p>
              <a:endParaRPr lang="es-US"/>
            </a:p>
          </p:txBody>
        </p:sp>
        <p:pic>
          <p:nvPicPr>
            <p:cNvPr id="57371" name="Picture 1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4025" y="700087"/>
              <a:ext cx="36513" cy="3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5" name="Line 33"/>
          <p:cNvSpPr>
            <a:spLocks noChangeShapeType="1"/>
          </p:cNvSpPr>
          <p:nvPr/>
        </p:nvSpPr>
        <p:spPr bwMode="auto">
          <a:xfrm flipH="1" flipV="1">
            <a:off x="1597025" y="1922463"/>
            <a:ext cx="1797050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kern="0">
              <a:solidFill>
                <a:sysClr val="windowText" lastClr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6" name="Rektangel 63"/>
          <p:cNvSpPr/>
          <p:nvPr/>
        </p:nvSpPr>
        <p:spPr bwMode="auto">
          <a:xfrm>
            <a:off x="250825" y="1401763"/>
            <a:ext cx="1520825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+mn-lt"/>
                <a:ea typeface="ＭＳ Ｐゴシック" charset="0"/>
                <a:cs typeface="Arial" pitchFamily="34" charset="0"/>
              </a:rPr>
              <a:t>MANDATOS PRESIDENCIALES</a:t>
            </a:r>
          </a:p>
        </p:txBody>
      </p:sp>
      <p:sp>
        <p:nvSpPr>
          <p:cNvPr id="37" name="Line 33"/>
          <p:cNvSpPr>
            <a:spLocks noChangeShapeType="1"/>
          </p:cNvSpPr>
          <p:nvPr/>
        </p:nvSpPr>
        <p:spPr bwMode="auto">
          <a:xfrm flipH="1">
            <a:off x="2003425" y="2816225"/>
            <a:ext cx="1762125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kern="0">
              <a:solidFill>
                <a:sysClr val="windowText" lastClr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8" name="Line 33"/>
          <p:cNvSpPr>
            <a:spLocks noChangeShapeType="1"/>
          </p:cNvSpPr>
          <p:nvPr/>
        </p:nvSpPr>
        <p:spPr bwMode="auto">
          <a:xfrm flipH="1">
            <a:off x="2470150" y="3708400"/>
            <a:ext cx="1787525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kern="0">
              <a:solidFill>
                <a:sysClr val="windowText" lastClr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9" name="Line 33"/>
          <p:cNvSpPr>
            <a:spLocks noChangeShapeType="1"/>
          </p:cNvSpPr>
          <p:nvPr/>
        </p:nvSpPr>
        <p:spPr bwMode="auto">
          <a:xfrm flipH="1">
            <a:off x="2981325" y="4602163"/>
            <a:ext cx="1743075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kern="0">
              <a:solidFill>
                <a:sysClr val="windowText" lastClr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0" name="Line 33"/>
          <p:cNvSpPr>
            <a:spLocks noChangeShapeType="1"/>
          </p:cNvSpPr>
          <p:nvPr/>
        </p:nvSpPr>
        <p:spPr bwMode="auto">
          <a:xfrm flipH="1">
            <a:off x="3317875" y="5494338"/>
            <a:ext cx="1893888" cy="0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200" kern="0">
              <a:solidFill>
                <a:sysClr val="windowText" lastClr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1" name="Rektangel 63"/>
          <p:cNvSpPr/>
          <p:nvPr/>
        </p:nvSpPr>
        <p:spPr bwMode="auto">
          <a:xfrm>
            <a:off x="1681163" y="4197350"/>
            <a:ext cx="1300162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+mn-lt"/>
                <a:ea typeface="ＭＳ Ｐゴシック" charset="0"/>
                <a:cs typeface="Arial" pitchFamily="34" charset="0"/>
              </a:rPr>
              <a:t>ESTRATEGIAS Y POLÍTICAS</a:t>
            </a:r>
          </a:p>
        </p:txBody>
      </p:sp>
      <p:sp>
        <p:nvSpPr>
          <p:cNvPr id="42" name="Rektangel 63"/>
          <p:cNvSpPr/>
          <p:nvPr/>
        </p:nvSpPr>
        <p:spPr bwMode="auto">
          <a:xfrm>
            <a:off x="2047875" y="5014913"/>
            <a:ext cx="2024063" cy="56673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+mn-lt"/>
                <a:ea typeface="ＭＳ Ｐゴシック" charset="0"/>
                <a:cs typeface="Arial" pitchFamily="34" charset="0"/>
              </a:rPr>
              <a:t>PLANES DE TRABAJO</a:t>
            </a:r>
          </a:p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+mn-lt"/>
                <a:ea typeface="ＭＳ Ｐゴシック" charset="0"/>
                <a:cs typeface="Arial" pitchFamily="34" charset="0"/>
              </a:rPr>
              <a:t> DE LA PPT</a:t>
            </a:r>
          </a:p>
        </p:txBody>
      </p:sp>
      <p:sp>
        <p:nvSpPr>
          <p:cNvPr id="43" name="Rektangel 63"/>
          <p:cNvSpPr/>
          <p:nvPr/>
        </p:nvSpPr>
        <p:spPr bwMode="auto">
          <a:xfrm>
            <a:off x="1220788" y="3303588"/>
            <a:ext cx="1565275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+mn-lt"/>
                <a:ea typeface="ＭＳ Ｐゴシック" charset="0"/>
                <a:cs typeface="Arial" pitchFamily="34" charset="0"/>
              </a:rPr>
              <a:t>ACUERDOS MINISTERIALES</a:t>
            </a:r>
            <a:endParaRPr lang="da-DK" sz="1400" kern="0" noProof="1">
              <a:solidFill>
                <a:srgbClr val="080808"/>
              </a:solidFill>
              <a:latin typeface="+mn-lt"/>
              <a:ea typeface="ＭＳ Ｐゴシック" charset="0"/>
              <a:cs typeface="Arial" pitchFamily="34" charset="0"/>
            </a:endParaRPr>
          </a:p>
        </p:txBody>
      </p:sp>
      <p:sp>
        <p:nvSpPr>
          <p:cNvPr id="44" name="Rektangel 63"/>
          <p:cNvSpPr/>
          <p:nvPr/>
        </p:nvSpPr>
        <p:spPr bwMode="auto">
          <a:xfrm>
            <a:off x="515938" y="2343150"/>
            <a:ext cx="1868487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801688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da-DK" sz="1400" b="1" kern="0" noProof="1">
                <a:solidFill>
                  <a:srgbClr val="080808"/>
                </a:solidFill>
                <a:latin typeface="+mn-lt"/>
                <a:ea typeface="ＭＳ Ｐゴシック" charset="0"/>
                <a:cs typeface="Arial" pitchFamily="34" charset="0"/>
              </a:rPr>
              <a:t>ACUERDOS INTERSECTORIALES</a:t>
            </a:r>
            <a:endParaRPr lang="da-DK" sz="1400" kern="0" noProof="1">
              <a:solidFill>
                <a:srgbClr val="080808"/>
              </a:solidFill>
              <a:latin typeface="+mn-lt"/>
              <a:ea typeface="ＭＳ Ｐゴシック" charset="0"/>
              <a:cs typeface="Arial" pitchFamily="34" charset="0"/>
            </a:endParaRPr>
          </a:p>
        </p:txBody>
      </p:sp>
      <p:sp>
        <p:nvSpPr>
          <p:cNvPr id="16404" name="TextBox 48"/>
          <p:cNvSpPr txBox="1">
            <a:spLocks noChangeArrowheads="1"/>
          </p:cNvSpPr>
          <p:nvPr/>
        </p:nvSpPr>
        <p:spPr bwMode="auto">
          <a:xfrm>
            <a:off x="203200" y="190500"/>
            <a:ext cx="8699500" cy="523875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2800" b="1" dirty="0">
                <a:solidFill>
                  <a:srgbClr val="000000"/>
                </a:solidFill>
                <a:latin typeface="Maiandra GD" pitchFamily="34" charset="0"/>
              </a:rPr>
              <a:t>ORIGEN  DE LAS ACCIONES REGIONALES </a:t>
            </a:r>
            <a:endParaRPr lang="en-US" sz="2800" dirty="0">
              <a:solidFill>
                <a:srgbClr val="000000"/>
              </a:solidFill>
              <a:latin typeface="Maiandra GD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0" y="792163"/>
            <a:ext cx="9140825" cy="4603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R"/>
          </a:p>
        </p:txBody>
      </p:sp>
      <p:sp>
        <p:nvSpPr>
          <p:cNvPr id="57366" name="2 CuadroTexto"/>
          <p:cNvSpPr txBox="1">
            <a:spLocks noChangeArrowheads="1"/>
          </p:cNvSpPr>
          <p:nvPr/>
        </p:nvSpPr>
        <p:spPr bwMode="auto">
          <a:xfrm>
            <a:off x="341313" y="6188075"/>
            <a:ext cx="868997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s-MX" altLang="es-US" sz="1200">
                <a:latin typeface="Maiandra GD" panose="020E0502030308020204" pitchFamily="34" charset="0"/>
              </a:rPr>
              <a:t>A ESTOS COMPROMISOS SE SUMAN COMPROMISOS NACIONALES E INTERNACIONALES</a:t>
            </a:r>
            <a:endParaRPr lang="es-CR" altLang="es-US" sz="1200">
              <a:latin typeface="Maiandra GD" panose="020E0502030308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3 Marcador de contenido" descr="PACA Y CC.bmp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5" b="-311"/>
          <a:stretch>
            <a:fillRect/>
          </a:stretch>
        </p:blipFill>
        <p:spPr>
          <a:xfrm>
            <a:off x="571500" y="857250"/>
            <a:ext cx="5786438" cy="5643563"/>
          </a:xfrm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0" y="4643438"/>
            <a:ext cx="1143000" cy="1692275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6 Flecha derecha"/>
          <p:cNvSpPr/>
          <p:nvPr/>
        </p:nvSpPr>
        <p:spPr>
          <a:xfrm>
            <a:off x="5286375" y="5500688"/>
            <a:ext cx="1857375" cy="357187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prstClr val="black"/>
              </a:solidFill>
            </a:endParaRPr>
          </a:p>
        </p:txBody>
      </p:sp>
      <p:sp>
        <p:nvSpPr>
          <p:cNvPr id="8" name="6 CuadroTexto"/>
          <p:cNvSpPr txBox="1">
            <a:spLocks noChangeArrowheads="1"/>
          </p:cNvSpPr>
          <p:nvPr/>
        </p:nvSpPr>
        <p:spPr bwMode="auto">
          <a:xfrm>
            <a:off x="0" y="0"/>
            <a:ext cx="9144000" cy="461963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s-CR" dirty="0">
                <a:solidFill>
                  <a:srgbClr val="FFFF00"/>
                </a:solidFill>
                <a:latin typeface="VAG Rounded Black SSi" pitchFamily="34" charset="0"/>
                <a:ea typeface="+mn-ea"/>
              </a:rPr>
              <a:t>POLITICA AGRÍCOLA CENTROAMERICANA (2007)</a:t>
            </a:r>
            <a:endParaRPr lang="es-ES" dirty="0">
              <a:solidFill>
                <a:srgbClr val="FFFF00"/>
              </a:solidFill>
              <a:latin typeface="VAG Rounded Black SSi" pitchFamily="34" charset="0"/>
              <a:ea typeface="+mn-ea"/>
            </a:endParaRPr>
          </a:p>
        </p:txBody>
      </p:sp>
      <p:grpSp>
        <p:nvGrpSpPr>
          <p:cNvPr id="9" name="Rectangle 4"/>
          <p:cNvGrpSpPr>
            <a:grpSpLocks noGrp="1"/>
          </p:cNvGrpSpPr>
          <p:nvPr/>
        </p:nvGrpSpPr>
        <p:grpSpPr bwMode="auto">
          <a:xfrm>
            <a:off x="5894388" y="742950"/>
            <a:ext cx="3444875" cy="4121150"/>
            <a:chOff x="3713" y="468"/>
            <a:chExt cx="2170" cy="2596"/>
          </a:xfrm>
        </p:grpSpPr>
        <p:pic>
          <p:nvPicPr>
            <p:cNvPr id="58374" name="Rectangle 4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3" y="468"/>
              <a:ext cx="2170" cy="2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375" name="Text Box 7"/>
            <p:cNvSpPr txBox="1">
              <a:spLocks noChangeArrowheads="1"/>
            </p:cNvSpPr>
            <p:nvPr/>
          </p:nvSpPr>
          <p:spPr bwMode="auto">
            <a:xfrm>
              <a:off x="3780" y="495"/>
              <a:ext cx="1845" cy="2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defTabSz="914400" eaLnBrk="1" hangingPunct="1"/>
              <a:r>
                <a:rPr lang="es-ES" altLang="es-US" sz="2000">
                  <a:latin typeface="Cambria" panose="02040503050406030204" pitchFamily="18" charset="0"/>
                  <a:cs typeface="Arial" panose="020B0604020202020204" pitchFamily="34" charset="0"/>
                </a:rPr>
                <a:t>- Gestión del riesgo: Pronósticos agrícolas y seguros</a:t>
              </a:r>
              <a:br>
                <a:rPr lang="es-ES" altLang="es-US" sz="2000">
                  <a:latin typeface="Cambria" panose="02040503050406030204" pitchFamily="18" charset="0"/>
                  <a:cs typeface="Arial" panose="020B0604020202020204" pitchFamily="34" charset="0"/>
                </a:rPr>
              </a:br>
              <a:r>
                <a:rPr lang="es-ES" altLang="es-US" sz="2000">
                  <a:latin typeface="Cambria" panose="02040503050406030204" pitchFamily="18" charset="0"/>
                  <a:cs typeface="Arial" panose="020B0604020202020204" pitchFamily="34" charset="0"/>
                </a:rPr>
                <a:t>- Propone prevenir los riesgos sobre la biodiversidad y hacer un manejo sostenible de la tierra</a:t>
              </a:r>
              <a:endParaRPr lang="es-ES" altLang="es-US" sz="2000">
                <a:latin typeface="Cambria" panose="02040503050406030204" pitchFamily="18" charset="0"/>
              </a:endParaRPr>
            </a:p>
          </p:txBody>
        </p:sp>
      </p:grp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27150" cy="1844675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0788" y="6364288"/>
            <a:ext cx="933450" cy="493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0725"/>
            <a:ext cx="1571625" cy="2327275"/>
          </a:xfrm>
          <a:prstGeom prst="rect">
            <a:avLst/>
          </a:prstGeom>
          <a:noFill/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5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4143375" cy="413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14 CuadroTexto"/>
          <p:cNvSpPr txBox="1"/>
          <p:nvPr/>
        </p:nvSpPr>
        <p:spPr>
          <a:xfrm>
            <a:off x="1571625" y="2000250"/>
            <a:ext cx="1571625" cy="33813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</a:rPr>
              <a:t>TERRITORIO</a:t>
            </a: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275" y="1182688"/>
            <a:ext cx="1481138" cy="84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9 Rectángulo"/>
          <p:cNvGrpSpPr>
            <a:grpSpLocks/>
          </p:cNvGrpSpPr>
          <p:nvPr/>
        </p:nvGrpSpPr>
        <p:grpSpPr bwMode="auto">
          <a:xfrm>
            <a:off x="4260850" y="2193925"/>
            <a:ext cx="4638675" cy="4657725"/>
            <a:chOff x="2684" y="1382"/>
            <a:chExt cx="2922" cy="2934"/>
          </a:xfrm>
        </p:grpSpPr>
        <p:pic>
          <p:nvPicPr>
            <p:cNvPr id="59398" name="9 Rectángulo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84" y="1382"/>
              <a:ext cx="2922" cy="29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399" name="Text Box 7"/>
            <p:cNvSpPr txBox="1">
              <a:spLocks noChangeArrowheads="1"/>
            </p:cNvSpPr>
            <p:nvPr/>
          </p:nvSpPr>
          <p:spPr bwMode="auto">
            <a:xfrm>
              <a:off x="2940" y="1405"/>
              <a:ext cx="2655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es-CR" altLang="es-US" sz="1800">
                  <a:solidFill>
                    <a:srgbClr val="FFFFFF"/>
                  </a:solidFill>
                  <a:latin typeface="Calibri" panose="020F0502020204030204" pitchFamily="34" charset="0"/>
                </a:rPr>
                <a:t>Integra como ejes Cambio climático y variabilidad climática (gestión del riesgo), biodiversidad y manejo sostenible de tierras</a:t>
              </a:r>
            </a:p>
            <a:p>
              <a:pPr eaLnBrk="1" hangingPunct="1"/>
              <a:endParaRPr lang="es-CR" altLang="es-US" sz="1800">
                <a:solidFill>
                  <a:srgbClr val="FFFFFF"/>
                </a:solidFill>
                <a:latin typeface="Calibri" panose="020F0502020204030204" pitchFamily="34" charset="0"/>
              </a:endParaRPr>
            </a:p>
            <a:p>
              <a:pPr eaLnBrk="1" hangingPunct="1"/>
              <a:r>
                <a:rPr lang="es-CR" altLang="es-US" sz="1800">
                  <a:solidFill>
                    <a:srgbClr val="FFFFFF"/>
                  </a:solidFill>
                  <a:latin typeface="Calibri" panose="020F0502020204030204" pitchFamily="34" charset="0"/>
                </a:rPr>
                <a:t>Se propone “Contribuir a la </a:t>
              </a:r>
              <a:r>
                <a:rPr lang="es-CR" altLang="es-US" sz="1800" b="1">
                  <a:solidFill>
                    <a:srgbClr val="FFFFFF"/>
                  </a:solidFill>
                  <a:latin typeface="Calibri" panose="020F0502020204030204" pitchFamily="34" charset="0"/>
                </a:rPr>
                <a:t>recuperación, restauración y manejo adecuado </a:t>
              </a:r>
              <a:r>
                <a:rPr lang="es-CR" altLang="es-US" sz="1800">
                  <a:solidFill>
                    <a:srgbClr val="FFFFFF"/>
                  </a:solidFill>
                  <a:latin typeface="Calibri" panose="020F0502020204030204" pitchFamily="34" charset="0"/>
                </a:rPr>
                <a:t>de los recursos suelo, agua, bosque e hidrobiológicos; y de los ecosistemas terrestres y acuáticos por parte de las actividades productivas agrícolas y relacionadas que se desarrollan en un determinado territorio, de manera que contribuya efectivamente a la salud y a la SAN”</a:t>
              </a:r>
            </a:p>
          </p:txBody>
        </p:sp>
      </p:grpSp>
      <p:grpSp>
        <p:nvGrpSpPr>
          <p:cNvPr id="11" name="10 Rectángulo"/>
          <p:cNvGrpSpPr>
            <a:grpSpLocks/>
          </p:cNvGrpSpPr>
          <p:nvPr/>
        </p:nvGrpSpPr>
        <p:grpSpPr bwMode="auto">
          <a:xfrm>
            <a:off x="4352925" y="92075"/>
            <a:ext cx="4608513" cy="1335088"/>
            <a:chOff x="2742" y="58"/>
            <a:chExt cx="2903" cy="841"/>
          </a:xfrm>
        </p:grpSpPr>
        <p:pic>
          <p:nvPicPr>
            <p:cNvPr id="59401" name="10 Rectángulo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2" y="58"/>
              <a:ext cx="2903" cy="8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402" name="Text Box 10"/>
            <p:cNvSpPr txBox="1">
              <a:spLocks noChangeArrowheads="1"/>
            </p:cNvSpPr>
            <p:nvPr/>
          </p:nvSpPr>
          <p:spPr bwMode="auto">
            <a:xfrm>
              <a:off x="2970" y="90"/>
              <a:ext cx="2665" cy="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s-US" b="1">
                  <a:solidFill>
                    <a:srgbClr val="FFFFFF"/>
                  </a:solidFill>
                  <a:latin typeface="Calibri" panose="020F0502020204030204" pitchFamily="34" charset="0"/>
                </a:rPr>
                <a:t>ESTRATEGIA REGIONAL AGROAMBIENTAL Y DE </a:t>
              </a:r>
              <a:r>
                <a:rPr lang="en-US" altLang="es-US" sz="2000" b="1">
                  <a:solidFill>
                    <a:srgbClr val="FFFFFF"/>
                  </a:solidFill>
                  <a:latin typeface="Calibri" panose="020F0502020204030204" pitchFamily="34" charset="0"/>
                </a:rPr>
                <a:t>SALUD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s-CR" altLang="es-US" smtClean="0"/>
          </a:p>
        </p:txBody>
      </p:sp>
      <p:pic>
        <p:nvPicPr>
          <p:cNvPr id="6041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" y="115888"/>
            <a:ext cx="8515350" cy="223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42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2586038"/>
            <a:ext cx="6191250" cy="425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421" name="3 CuadroTexto"/>
          <p:cNvSpPr txBox="1">
            <a:spLocks noChangeArrowheads="1"/>
          </p:cNvSpPr>
          <p:nvPr/>
        </p:nvSpPr>
        <p:spPr bwMode="auto">
          <a:xfrm rot="-5400000">
            <a:off x="-751681" y="4288632"/>
            <a:ext cx="3240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s-MX" altLang="es-US">
                <a:latin typeface="Maiandra GD" panose="020E0502030308020204" pitchFamily="34" charset="0"/>
                <a:cs typeface="LilyUPC" panose="020B0604020202020204" pitchFamily="34" charset="-34"/>
              </a:rPr>
              <a:t>LINEAS DE ACCIÓN</a:t>
            </a:r>
            <a:endParaRPr lang="es-CR" altLang="es-US">
              <a:latin typeface="Maiandra GD" panose="020E0502030308020204" pitchFamily="34" charset="0"/>
              <a:cs typeface="LilyUPC" panose="020B0604020202020204" pitchFamily="34" charset="-34"/>
            </a:endParaRPr>
          </a:p>
        </p:txBody>
      </p:sp>
      <p:pic>
        <p:nvPicPr>
          <p:cNvPr id="604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238" y="2627313"/>
            <a:ext cx="1481137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476375" y="2586038"/>
            <a:ext cx="6191250" cy="110966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42" name="11 Grupo"/>
          <p:cNvGrpSpPr>
            <a:grpSpLocks/>
          </p:cNvGrpSpPr>
          <p:nvPr/>
        </p:nvGrpSpPr>
        <p:grpSpPr bwMode="auto">
          <a:xfrm>
            <a:off x="-36513" y="-444500"/>
            <a:ext cx="9144001" cy="6786563"/>
            <a:chOff x="0" y="0"/>
            <a:chExt cx="9144000" cy="6786562"/>
          </a:xfrm>
        </p:grpSpPr>
        <p:sp>
          <p:nvSpPr>
            <p:cNvPr id="6" name="5 Rectángulo"/>
            <p:cNvSpPr/>
            <p:nvPr/>
          </p:nvSpPr>
          <p:spPr>
            <a:xfrm>
              <a:off x="0" y="1428750"/>
              <a:ext cx="9144000" cy="64293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7" name="6 CuadroTexto"/>
            <p:cNvSpPr txBox="1"/>
            <p:nvPr/>
          </p:nvSpPr>
          <p:spPr>
            <a:xfrm>
              <a:off x="714348" y="1428736"/>
              <a:ext cx="7358114" cy="6463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1800" dirty="0">
                  <a:ln w="10541" cmpd="sng">
                    <a:solidFill>
                      <a:srgbClr val="4F81BD">
                        <a:shade val="88000"/>
                        <a:satMod val="110000"/>
                      </a:srgbClr>
                    </a:solidFill>
                    <a:prstDash val="solid"/>
                  </a:ln>
                  <a:solidFill>
                    <a:prstClr val="white"/>
                  </a:solidFill>
                  <a:latin typeface="Arial Black" pitchFamily="34" charset="0"/>
                  <a:ea typeface="+mn-ea"/>
                </a:rPr>
                <a:t>ESTRATEGIA CENTROAMERICANA DE 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1800" dirty="0">
                  <a:ln w="10541" cmpd="sng">
                    <a:solidFill>
                      <a:srgbClr val="4F81BD">
                        <a:shade val="88000"/>
                        <a:satMod val="110000"/>
                      </a:srgbClr>
                    </a:solidFill>
                    <a:prstDash val="solid"/>
                  </a:ln>
                  <a:solidFill>
                    <a:prstClr val="white"/>
                  </a:solidFill>
                  <a:latin typeface="Arial Black" pitchFamily="34" charset="0"/>
                  <a:ea typeface="+mn-ea"/>
                </a:rPr>
                <a:t>DESARROLLO RURAL TERRITORIAL -ECADERT-</a:t>
              </a:r>
            </a:p>
          </p:txBody>
        </p:sp>
        <p:pic>
          <p:nvPicPr>
            <p:cNvPr id="11" name="Picture 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5345" y="-508"/>
              <a:ext cx="999744" cy="1030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48" name="Picture 7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348" y="2214554"/>
              <a:ext cx="3529989" cy="4572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" name="8 Rectángulo"/>
            <p:cNvGrpSpPr>
              <a:grpSpLocks/>
            </p:cNvGrpSpPr>
            <p:nvPr/>
          </p:nvGrpSpPr>
          <p:grpSpPr bwMode="auto">
            <a:xfrm>
              <a:off x="4139121" y="2535428"/>
              <a:ext cx="4821935" cy="1365504"/>
              <a:chOff x="4102608" y="2090928"/>
              <a:chExt cx="4821936" cy="1365504"/>
            </a:xfrm>
          </p:grpSpPr>
          <p:pic>
            <p:nvPicPr>
              <p:cNvPr id="61449" name="8 Rectángulo"/>
              <p:cNvPicPr>
                <a:picLocks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2608" y="2090928"/>
                <a:ext cx="4821936" cy="13655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1450" name="Text Box 10"/>
              <p:cNvSpPr txBox="1">
                <a:spLocks noChangeArrowheads="1"/>
              </p:cNvSpPr>
              <p:nvPr/>
            </p:nvSpPr>
            <p:spPr bwMode="auto">
              <a:xfrm>
                <a:off x="4464049" y="2127244"/>
                <a:ext cx="4445000" cy="923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358775" indent="-3429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defTabSz="914400" eaLnBrk="1" hangingPunct="1">
                  <a:spcAft>
                    <a:spcPts val="1800"/>
                  </a:spcAft>
                </a:pPr>
                <a:r>
                  <a:rPr lang="es-ES" altLang="es-US" sz="1800" b="1">
                    <a:solidFill>
                      <a:srgbClr val="FFFFFF"/>
                    </a:solidFill>
                    <a:latin typeface="Calibri" panose="020F0502020204030204" pitchFamily="34" charset="0"/>
                  </a:rPr>
                  <a:t>La ECADERT fue aprobada por el CAC en su reunión del  12 de marzo de 2010 celebrada en Cd. Panamá</a:t>
                </a:r>
              </a:p>
            </p:txBody>
          </p:sp>
        </p:grpSp>
        <p:grpSp>
          <p:nvGrpSpPr>
            <p:cNvPr id="10" name="9 Rectángulo"/>
            <p:cNvGrpSpPr>
              <a:grpSpLocks/>
            </p:cNvGrpSpPr>
            <p:nvPr/>
          </p:nvGrpSpPr>
          <p:grpSpPr bwMode="auto">
            <a:xfrm>
              <a:off x="4352481" y="4894579"/>
              <a:ext cx="4651247" cy="1639824"/>
              <a:chOff x="4315968" y="4450080"/>
              <a:chExt cx="4651248" cy="1639824"/>
            </a:xfrm>
          </p:grpSpPr>
          <p:pic>
            <p:nvPicPr>
              <p:cNvPr id="61452" name="9 Rectángulo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15968" y="4450080"/>
                <a:ext cx="4651248" cy="16398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1453" name="Text Box 13"/>
              <p:cNvSpPr txBox="1">
                <a:spLocks noChangeArrowheads="1"/>
              </p:cNvSpPr>
              <p:nvPr/>
            </p:nvSpPr>
            <p:spPr bwMode="auto">
              <a:xfrm>
                <a:off x="4678364" y="4484699"/>
                <a:ext cx="4214842" cy="12003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358775" indent="-3429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defTabSz="914400" eaLnBrk="1" hangingPunct="1">
                  <a:spcAft>
                    <a:spcPts val="1800"/>
                  </a:spcAft>
                </a:pPr>
                <a:r>
                  <a:rPr lang="es-ES" altLang="es-US" sz="1800" b="1">
                    <a:solidFill>
                      <a:srgbClr val="FFFFFF"/>
                    </a:solidFill>
                    <a:latin typeface="Calibri" panose="020F0502020204030204" pitchFamily="34" charset="0"/>
                  </a:rPr>
                  <a:t>La ECADERT fue acogida por la XXXV Reunión Ordinaria de Jefes de Estado y de Gobierno los países del SICA el 30 de junio de 2010</a:t>
                </a:r>
                <a:endParaRPr lang="es-CR" altLang="es-US" sz="1800" b="1">
                  <a:solidFill>
                    <a:srgbClr val="FFFFFF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4284663" y="1716088"/>
            <a:ext cx="4813300" cy="471011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R" sz="2000" dirty="0">
                <a:solidFill>
                  <a:prstClr val="white"/>
                </a:solidFill>
              </a:rPr>
              <a:t>5º Impulsar la transformación del tipo de gestión ambiental del territorio por parte de los actores sociales e institucionales, </a:t>
            </a:r>
            <a:r>
              <a:rPr lang="es-CR" sz="2000" b="1" dirty="0">
                <a:solidFill>
                  <a:srgbClr val="FFFF00"/>
                </a:solidFill>
              </a:rPr>
              <a:t>adecuando sus prácticas a la capacidad de renovación de los ecosistemas y la conservación de la biodiversidad, generando procesos de innovación para mitigar los efectos del cambio climático y adaptar los sistemas productivos</a:t>
            </a:r>
            <a:r>
              <a:rPr lang="es-CR" sz="2000" dirty="0">
                <a:solidFill>
                  <a:prstClr val="white"/>
                </a:solidFill>
              </a:rPr>
              <a:t>, contrarrestar el uso inadecuado y degradación de los suelos, reducir las disparidades entre demanda y disponibilidad de agua para el riego y el consumo humano, y enfrentar otros retos socio-ambientales. </a:t>
            </a:r>
          </a:p>
        </p:txBody>
      </p:sp>
      <p:sp>
        <p:nvSpPr>
          <p:cNvPr id="3" name="TextBox 2"/>
          <p:cNvSpPr txBox="1"/>
          <p:nvPr/>
        </p:nvSpPr>
        <p:spPr>
          <a:xfrm rot="16200000">
            <a:off x="-1914524" y="3886200"/>
            <a:ext cx="4602162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R" sz="1800" b="1" dirty="0">
                <a:solidFill>
                  <a:prstClr val="black"/>
                </a:solidFill>
                <a:latin typeface="Calibri"/>
                <a:ea typeface="+mn-ea"/>
              </a:rPr>
              <a:t>OBJETIVO ESTRATÉGIC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itle 1"/>
          <p:cNvSpPr>
            <a:spLocks noGrp="1"/>
          </p:cNvSpPr>
          <p:nvPr>
            <p:ph type="title"/>
          </p:nvPr>
        </p:nvSpPr>
        <p:spPr>
          <a:xfrm>
            <a:off x="457200" y="571500"/>
            <a:ext cx="8229600" cy="846138"/>
          </a:xfrm>
        </p:spPr>
        <p:txBody>
          <a:bodyPr/>
          <a:lstStyle/>
          <a:p>
            <a:r>
              <a:rPr lang="es-CR" altLang="es-US" sz="4000" smtClean="0"/>
              <a:t>ECADERT</a:t>
            </a:r>
          </a:p>
        </p:txBody>
      </p:sp>
      <p:sp>
        <p:nvSpPr>
          <p:cNvPr id="6246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R" altLang="es-US" smtClean="0"/>
          </a:p>
        </p:txBody>
      </p:sp>
      <p:sp>
        <p:nvSpPr>
          <p:cNvPr id="62468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14510942-B5D2-46CB-83A4-F3B105AB3FD1}" type="slidenum">
              <a:rPr lang="en-US" altLang="es-US">
                <a:solidFill>
                  <a:schemeClr val="bg1"/>
                </a:solidFill>
                <a:latin typeface="Times New Roman" panose="02020603050405020304" pitchFamily="18" charset="0"/>
              </a:rPr>
              <a:pPr eaLnBrk="1" hangingPunct="1"/>
              <a:t>9</a:t>
            </a:fld>
            <a:endParaRPr lang="en-US" altLang="es-US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6246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5" y="1616075"/>
            <a:ext cx="8934450" cy="421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38"/>
  <p:tag name="MMPROD_UIDATA" val="&lt;database version=&quot;7.0&quot;&gt;&lt;object type=&quot;1&quot; unique_id=&quot;10001&quot;&gt;&lt;object type=&quot;8&quot; unique_id=&quot;13830&quot;&gt;&lt;/object&gt;&lt;object type=&quot;2&quot; unique_id=&quot;13831&quot;&gt;&lt;object type=&quot;3&quot; unique_id=&quot;13832&quot;&gt;&lt;property id=&quot;20148&quot; value=&quot;5&quot;/&gt;&lt;property id=&quot;20300&quot; value=&quot;Slide 1&quot;/&gt;&lt;property id=&quot;20307&quot; value=&quot;269&quot;/&gt;&lt;/object&gt;&lt;object type=&quot;3&quot; unique_id=&quot;13833&quot;&gt;&lt;property id=&quot;20148&quot; value=&quot;5&quot;/&gt;&lt;property id=&quot;20300&quot; value=&quot;Slide 2&quot;/&gt;&lt;property id=&quot;20307&quot; value=&quot;257&quot;/&gt;&lt;/object&gt;&lt;object type=&quot;3&quot; unique_id=&quot;13834&quot;&gt;&lt;property id=&quot;20148&quot; value=&quot;5&quot;/&gt;&lt;property id=&quot;20300&quot; value=&quot;Slide 3&quot;/&gt;&lt;property id=&quot;20307&quot; value=&quot;258&quot;/&gt;&lt;/object&gt;&lt;object type=&quot;3&quot; unique_id=&quot;13835&quot;&gt;&lt;property id=&quot;20148&quot; value=&quot;5&quot;/&gt;&lt;property id=&quot;20300&quot; value=&quot;Slide 4&quot;/&gt;&lt;property id=&quot;20307&quot; value=&quot;260&quot;/&gt;&lt;/object&gt;&lt;object type=&quot;3&quot; unique_id=&quot;13836&quot;&gt;&lt;property id=&quot;20148&quot; value=&quot;5&quot;/&gt;&lt;property id=&quot;20300&quot; value=&quot;Slide 5&quot;/&gt;&lt;property id=&quot;20307&quot; value=&quot;261&quot;/&gt;&lt;/object&gt;&lt;object type=&quot;3&quot; unique_id=&quot;13837&quot;&gt;&lt;property id=&quot;20148&quot; value=&quot;5&quot;/&gt;&lt;property id=&quot;20300&quot; value=&quot;Slide 6&quot;/&gt;&lt;property id=&quot;20307&quot; value=&quot;262&quot;/&gt;&lt;/object&gt;&lt;object type=&quot;3&quot; unique_id=&quot;13838&quot;&gt;&lt;property id=&quot;20148&quot; value=&quot;5&quot;/&gt;&lt;property id=&quot;20300&quot; value=&quot;Slide 7&quot;/&gt;&lt;property id=&quot;20307&quot; value=&quot;265&quot;/&gt;&lt;/object&gt;&lt;object type=&quot;3&quot; unique_id=&quot;13839&quot;&gt;&lt;property id=&quot;20148&quot; value=&quot;5&quot;/&gt;&lt;property id=&quot;20300&quot; value=&quot;Slide 8&quot;/&gt;&lt;property id=&quot;20307&quot; value=&quot;268&quot;/&gt;&lt;/object&gt;&lt;object type=&quot;3&quot; unique_id=&quot;13840&quot;&gt;&lt;property id=&quot;20148&quot; value=&quot;5&quot;/&gt;&lt;property id=&quot;20300&quot; value=&quot;Slide 9&quot;/&gt;&lt;property id=&quot;20307&quot; value=&quot;263&quot;/&gt;&lt;/object&gt;&lt;object type=&quot;3&quot; unique_id=&quot;13841&quot;&gt;&lt;property id=&quot;20148&quot; value=&quot;5&quot;/&gt;&lt;property id=&quot;20300&quot; value=&quot;Slide 10&quot;/&gt;&lt;property id=&quot;20307&quot; value=&quot;264&quot;/&gt;&lt;/object&gt;&lt;/object&gt;&lt;/object&gt;&lt;/database&gt;"/>
  <p:tag name="SECTOMILLISECCONVERTED" val="1"/>
  <p:tag name="THINKCELLUNDODONOTDELETE" val="56"/>
  <p:tag name="ISPRING_RESOURCE_PATHS_HASH" val="f5dd3b5eab04799935286d652a75b776e2b83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yM8jgsU0yUs39_YRdX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dlDTrqA0mqmqayTG4b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wtVJUnIEOCStM3QUeq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baXRqneUKxWG5RSSFw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Onyq1wkyg9i4i52Yr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kyd5puj0.irB67v3Yv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crpAfbsUKYf.tI0FRo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6MSn.MmkStTJ2xrZmG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sVYBRFOEKTa5bRnNxi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yM8jgsU0yUs39_YRdX_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dlDTrqA0mqmqayTG4b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wtVJUnIEOCStM3QUeq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baXRqneUKxWG5RSSFw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R.ueFZcUWSoZzxpgH4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64uNvDakOtGO_ZCU8X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m0pCW.JUq3H9t1LZD.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.8a7f6EmAilV.xmtX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Onyq1wkyg9i4i52Yr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kyd5puj0.irB67v3Yv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6MSn.MmkStTJ2xrZmG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sVYBRFOEKTa5bRnNxiH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quidad">
  <a:themeElements>
    <a:clrScheme name="Equidad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Equidad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Equidad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Equidad">
  <a:themeElements>
    <a:clrScheme name="Equidad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Equidad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Equidad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1</TotalTime>
  <Words>941</Words>
  <Application>Microsoft Office PowerPoint</Application>
  <PresentationFormat>Presentación en pantalla (4:3)</PresentationFormat>
  <Paragraphs>87</Paragraphs>
  <Slides>14</Slides>
  <Notes>6</Notes>
  <HiddenSlides>0</HiddenSlides>
  <MMClips>0</MMClips>
  <ScaleCrop>false</ScaleCrop>
  <HeadingPairs>
    <vt:vector size="6" baseType="variant">
      <vt:variant>
        <vt:lpstr>Fuentes usadas</vt:lpstr>
      </vt:variant>
      <vt:variant>
        <vt:i4>14</vt:i4>
      </vt:variant>
      <vt:variant>
        <vt:lpstr>Tema</vt:lpstr>
      </vt:variant>
      <vt:variant>
        <vt:i4>5</vt:i4>
      </vt:variant>
      <vt:variant>
        <vt:lpstr>Títulos de diapositiva</vt:lpstr>
      </vt:variant>
      <vt:variant>
        <vt:i4>14</vt:i4>
      </vt:variant>
    </vt:vector>
  </HeadingPairs>
  <TitlesOfParts>
    <vt:vector size="33" baseType="lpstr">
      <vt:lpstr>Arial</vt:lpstr>
      <vt:lpstr>MS PGothic</vt:lpstr>
      <vt:lpstr>Calibri</vt:lpstr>
      <vt:lpstr>Franklin Gothic Book</vt:lpstr>
      <vt:lpstr>Perpetua</vt:lpstr>
      <vt:lpstr>Wingdings 2</vt:lpstr>
      <vt:lpstr>Times New Roman</vt:lpstr>
      <vt:lpstr>Berlin Sans FB</vt:lpstr>
      <vt:lpstr>Book Antiqua</vt:lpstr>
      <vt:lpstr>Palatino</vt:lpstr>
      <vt:lpstr>Maiandra GD</vt:lpstr>
      <vt:lpstr>VAG Rounded Black SSi</vt:lpstr>
      <vt:lpstr>Cambria</vt:lpstr>
      <vt:lpstr>LilyUPC</vt:lpstr>
      <vt:lpstr>Office Theme</vt:lpstr>
      <vt:lpstr>Equidad</vt:lpstr>
      <vt:lpstr>4_Tema de Office</vt:lpstr>
      <vt:lpstr>1_Equidad</vt:lpstr>
      <vt:lpstr>5_Tema de Office</vt:lpstr>
      <vt:lpstr>Presentación de PowerPoint</vt:lpstr>
      <vt:lpstr>CONTENIDO</vt:lpstr>
      <vt:lpstr>PREGUNTAS GENERADOR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CADERT</vt:lpstr>
      <vt:lpstr>NUEVO PARADIGMA SSA DEL SICA</vt:lpstr>
      <vt:lpstr>INSTITUCIONALIZACIÓN EN EL MARCO DEL CAC</vt:lpstr>
      <vt:lpstr>CONSIDERACIONES GENERALES </vt:lpstr>
      <vt:lpstr>REFLEXIONES FINALES</vt:lpstr>
      <vt:lpstr>Presentación de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ck</dc:creator>
  <cp:lastModifiedBy>LGonzalez</cp:lastModifiedBy>
  <cp:revision>233</cp:revision>
  <dcterms:created xsi:type="dcterms:W3CDTF">2010-04-26T06:25:49Z</dcterms:created>
  <dcterms:modified xsi:type="dcterms:W3CDTF">2020-02-21T21:4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7c2f000000000001024100</vt:lpwstr>
  </property>
</Properties>
</file>